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556" r:id="rId6"/>
  </p:sldMasterIdLst>
  <p:notesMasterIdLst>
    <p:notesMasterId r:id="rId45"/>
  </p:notesMasterIdLst>
  <p:sldIdLst>
    <p:sldId id="294" r:id="rId7"/>
    <p:sldId id="303" r:id="rId8"/>
    <p:sldId id="306" r:id="rId9"/>
    <p:sldId id="305" r:id="rId10"/>
    <p:sldId id="307" r:id="rId11"/>
    <p:sldId id="316" r:id="rId12"/>
    <p:sldId id="315" r:id="rId13"/>
    <p:sldId id="309" r:id="rId14"/>
    <p:sldId id="317" r:id="rId15"/>
    <p:sldId id="310" r:id="rId16"/>
    <p:sldId id="325" r:id="rId17"/>
    <p:sldId id="318" r:id="rId18"/>
    <p:sldId id="324" r:id="rId19"/>
    <p:sldId id="327" r:id="rId20"/>
    <p:sldId id="326" r:id="rId21"/>
    <p:sldId id="328" r:id="rId22"/>
    <p:sldId id="330" r:id="rId23"/>
    <p:sldId id="331" r:id="rId24"/>
    <p:sldId id="332" r:id="rId25"/>
    <p:sldId id="333" r:id="rId26"/>
    <p:sldId id="334" r:id="rId27"/>
    <p:sldId id="335" r:id="rId28"/>
    <p:sldId id="337" r:id="rId29"/>
    <p:sldId id="338" r:id="rId30"/>
    <p:sldId id="339" r:id="rId31"/>
    <p:sldId id="340" r:id="rId32"/>
    <p:sldId id="341" r:id="rId33"/>
    <p:sldId id="342" r:id="rId34"/>
    <p:sldId id="343" r:id="rId35"/>
    <p:sldId id="344" r:id="rId36"/>
    <p:sldId id="348" r:id="rId37"/>
    <p:sldId id="345" r:id="rId38"/>
    <p:sldId id="346" r:id="rId39"/>
    <p:sldId id="347" r:id="rId40"/>
    <p:sldId id="304" r:id="rId41"/>
    <p:sldId id="321" r:id="rId42"/>
    <p:sldId id="320" r:id="rId43"/>
    <p:sldId id="322" r:id="rId44"/>
  </p:sldIdLst>
  <p:sldSz cx="12192000" cy="6858000"/>
  <p:notesSz cx="6858000" cy="9144000"/>
  <p:custDataLst>
    <p:tags r:id="rId46"/>
  </p:custDataLst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25" autoAdjust="0"/>
    <p:restoredTop sz="94660"/>
  </p:normalViewPr>
  <p:slideViewPr>
    <p:cSldViewPr snapToGrid="0" showGuides="1">
      <p:cViewPr varScale="1">
        <p:scale>
          <a:sx n="116" d="100"/>
          <a:sy n="116" d="100"/>
        </p:scale>
        <p:origin x="138" y="336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slide" Target="slides/slide36.xml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" Target="slides/slid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notesMaster" Target="notesMasters/notesMaster1.xml"/><Relationship Id="rId5" Type="http://schemas.openxmlformats.org/officeDocument/2006/relationships/customXml" Target="../customXml/item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theme" Target="theme/theme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viewProps" Target="viewProps.xml"/><Relationship Id="rId8" Type="http://schemas.openxmlformats.org/officeDocument/2006/relationships/slide" Target="slides/slide2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tags" Target="tags/tag1.xml"/><Relationship Id="rId20" Type="http://schemas.openxmlformats.org/officeDocument/2006/relationships/slide" Target="slides/slide14.xml"/><Relationship Id="rId41" Type="http://schemas.openxmlformats.org/officeDocument/2006/relationships/slide" Target="slides/slide35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412884C-B714-4DEF-9360-9095C79A5034}" type="datetimeFigureOut">
              <a:rPr lang="da-DK" smtClean="0"/>
              <a:t>24-03-2022</a:t>
            </a:fld>
            <a:endParaRPr lang="da-DK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3895909-989E-46E9-BDF9-A472421A36D1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5067774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sv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.bin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D15AE17-660B-456D-80E6-FF62C98ED0F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7493620" y="0"/>
            <a:ext cx="4698380" cy="6858000"/>
          </a:xfrm>
          <a:prstGeom prst="rect">
            <a:avLst/>
          </a:prstGeom>
          <a:solidFill>
            <a:schemeClr val="accent1"/>
          </a:solidFill>
        </p:spPr>
        <p:txBody>
          <a:bodyPr tIns="900000" anchor="ctr" anchorCtr="0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and insert image</a:t>
            </a:r>
          </a:p>
        </p:txBody>
      </p:sp>
      <p:sp>
        <p:nvSpPr>
          <p:cNvPr id="5" name="Pladsholder til diasnummer 4" hidden="1"/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defRPr sz="100"/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4" name="Text Placeholder 3">
            <a:extLst>
              <a:ext uri="{FF2B5EF4-FFF2-40B4-BE49-F238E27FC236}">
                <a16:creationId xmlns:a16="http://schemas.microsoft.com/office/drawing/2014/main" id="{11C61C4F-80D2-44D9-AC16-5BDCC4AC253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58800" y="1271239"/>
            <a:ext cx="6599561" cy="4888261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lang="da-DK" sz="1600" smtClean="0">
                <a:solidFill>
                  <a:schemeClr val="bg1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6" name="Logo on top">
            <a:extLst>
              <a:ext uri="{FF2B5EF4-FFF2-40B4-BE49-F238E27FC236}">
                <a16:creationId xmlns:a16="http://schemas.microsoft.com/office/drawing/2014/main" id="{DFBC9626-F092-47C9-AA7F-877A4D548D6A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0753200" y="6339600"/>
            <a:ext cx="1080000" cy="340069"/>
          </a:xfrm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FFFFFF"/>
          </a:solidFill>
        </p:spPr>
        <p:txBody>
          <a:bodyPr lIns="0" tIns="0" rIns="0" bIns="0"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F2A8B5DC-E0B6-4F5B-9EF6-BD08944C65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360000"/>
            <a:ext cx="6598961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4AA3C355-B5B0-4F74-AEFA-EFA87C8185AD}"/>
              </a:ext>
            </a:extLst>
          </p:cNvPr>
          <p:cNvSpPr txBox="1">
            <a:spLocks/>
          </p:cNvSpPr>
          <p:nvPr/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800" smtClean="0">
                <a:solidFill>
                  <a:schemeClr val="bg1"/>
                </a:solidFill>
              </a:rPr>
              <a:pPr/>
              <a:t>‹#›</a:t>
            </a:fld>
            <a:endParaRPr lang="en-GB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44846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4383" userDrawn="1">
          <p15:clr>
            <a:srgbClr val="A4A3A4"/>
          </p15:clr>
        </p15:guide>
        <p15:guide id="4" pos="4721" userDrawn="1">
          <p15:clr>
            <a:srgbClr val="A4A3A4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Reference and facts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D15AE17-660B-456D-80E6-FF62C98ED0F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5800725" cy="6858000"/>
          </a:xfrm>
          <a:prstGeom prst="rect">
            <a:avLst/>
          </a:prstGeom>
          <a:solidFill>
            <a:schemeClr val="accent1"/>
          </a:solidFill>
        </p:spPr>
        <p:txBody>
          <a:bodyPr tIns="900000" anchor="ctr" anchorCtr="0"/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Click and insert imag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D23D70F-C0EE-4776-AA20-24BC8D2345C7}"/>
              </a:ext>
            </a:extLst>
          </p:cNvPr>
          <p:cNvCxnSpPr/>
          <p:nvPr/>
        </p:nvCxnSpPr>
        <p:spPr>
          <a:xfrm flipH="1">
            <a:off x="9672000" y="552450"/>
            <a:ext cx="2520000" cy="0"/>
          </a:xfrm>
          <a:prstGeom prst="line">
            <a:avLst/>
          </a:prstGeom>
          <a:ln w="158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611C568C-1366-4320-8865-29A4BCBD3CF8}"/>
              </a:ext>
            </a:extLst>
          </p:cNvPr>
          <p:cNvCxnSpPr/>
          <p:nvPr/>
        </p:nvCxnSpPr>
        <p:spPr>
          <a:xfrm flipH="1">
            <a:off x="5800725" y="6258323"/>
            <a:ext cx="2520000" cy="0"/>
          </a:xfrm>
          <a:prstGeom prst="line">
            <a:avLst/>
          </a:prstGeom>
          <a:ln w="920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21DD3273-B680-4780-B64F-DB4D639685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4800" y="754690"/>
            <a:ext cx="5738659" cy="29031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1800">
                <a:solidFill>
                  <a:schemeClr val="tx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07F7715-539C-419D-B06E-CE581682410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4800" y="1160111"/>
            <a:ext cx="5738659" cy="73902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a-DK" sz="1600" smtClean="0">
                <a:solidFill>
                  <a:schemeClr val="tx1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50A8B5B0-B1D0-40CC-AA40-F684963A8D3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4800" y="2025964"/>
            <a:ext cx="5738659" cy="29031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1800">
                <a:solidFill>
                  <a:schemeClr val="tx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B97C30A8-CAF2-41AD-9341-C55E22BECA5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094800" y="2431385"/>
            <a:ext cx="5738659" cy="73902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a-DK" sz="1600" smtClean="0">
                <a:solidFill>
                  <a:schemeClr val="tx1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4296EB66-8D90-405F-B3F4-4A9EC002881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094800" y="3280580"/>
            <a:ext cx="5738659" cy="29031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1800">
                <a:solidFill>
                  <a:schemeClr val="tx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0A322DCF-FFFA-4ABB-A7BE-07DCE364A2B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094800" y="3686001"/>
            <a:ext cx="5738659" cy="73902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a-DK" sz="1600" smtClean="0">
                <a:solidFill>
                  <a:schemeClr val="tx1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8DDCC1B0-685A-4C94-9B2A-5DA51DC4BD6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094800" y="4579654"/>
            <a:ext cx="5738659" cy="29031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1800">
                <a:solidFill>
                  <a:schemeClr val="tx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31" name="Text Placeholder 10">
            <a:extLst>
              <a:ext uri="{FF2B5EF4-FFF2-40B4-BE49-F238E27FC236}">
                <a16:creationId xmlns:a16="http://schemas.microsoft.com/office/drawing/2014/main" id="{C3EF5DDD-BE51-4032-9C12-A72766DCD61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4800" y="4985075"/>
            <a:ext cx="5738659" cy="73902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a-DK" sz="1600" smtClean="0">
                <a:solidFill>
                  <a:schemeClr val="tx1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1942F715-4FB3-44DC-99FF-3B3F17A28A2A}"/>
              </a:ext>
            </a:extLst>
          </p:cNvPr>
          <p:cNvSpPr txBox="1">
            <a:spLocks/>
          </p:cNvSpPr>
          <p:nvPr/>
        </p:nvSpPr>
        <p:spPr>
          <a:xfrm>
            <a:off x="10762637" y="6339507"/>
            <a:ext cx="1069963" cy="341053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9E668DE7-32E7-4B9B-9526-AE30433F4862}"/>
              </a:ext>
            </a:extLst>
          </p:cNvPr>
          <p:cNvSpPr txBox="1">
            <a:spLocks/>
          </p:cNvSpPr>
          <p:nvPr/>
        </p:nvSpPr>
        <p:spPr>
          <a:xfrm>
            <a:off x="5879409" y="6375600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mtClean="0">
                <a:solidFill>
                  <a:schemeClr val="accent4"/>
                </a:solidFill>
              </a:rPr>
              <a:pPr/>
              <a:t>‹#›</a:t>
            </a:fld>
            <a:endParaRPr lang="en-GB" dirty="0">
              <a:solidFill>
                <a:schemeClr val="accent4"/>
              </a:solidFill>
            </a:endParaRP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defRPr sz="100"/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DAD55EB4-E5AB-4492-B93C-EB91931ACF0D}"/>
              </a:ext>
            </a:extLst>
          </p:cNvPr>
          <p:cNvSpPr txBox="1">
            <a:spLocks/>
          </p:cNvSpPr>
          <p:nvPr userDrawn="1"/>
        </p:nvSpPr>
        <p:spPr>
          <a:xfrm>
            <a:off x="10762637" y="6339507"/>
            <a:ext cx="1069963" cy="341053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75524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839" userDrawn="1">
          <p15:clr>
            <a:srgbClr val="A4A3A4"/>
          </p15:clr>
        </p15:guide>
        <p15:guide id="4" pos="3653" userDrawn="1">
          <p15:clr>
            <a:srgbClr val="A4A3A4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References 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aphic 4">
            <a:extLst>
              <a:ext uri="{FF2B5EF4-FFF2-40B4-BE49-F238E27FC236}">
                <a16:creationId xmlns:a16="http://schemas.microsoft.com/office/drawing/2014/main" id="{A2D4C4CC-2C2B-4E4A-BABE-191099A7DF52}"/>
              </a:ext>
            </a:extLst>
          </p:cNvPr>
          <p:cNvGrpSpPr/>
          <p:nvPr/>
        </p:nvGrpSpPr>
        <p:grpSpPr>
          <a:xfrm>
            <a:off x="10752600" y="6339508"/>
            <a:ext cx="1075757" cy="333967"/>
            <a:chOff x="10752600" y="6339508"/>
            <a:chExt cx="1075757" cy="333967"/>
          </a:xfrm>
          <a:solidFill>
            <a:srgbClr val="B70D18"/>
          </a:solidFill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71D26526-0348-41C0-8F96-4FFE4213BD27}"/>
                </a:ext>
              </a:extLst>
            </p:cNvPr>
            <p:cNvSpPr/>
            <p:nvPr/>
          </p:nvSpPr>
          <p:spPr>
            <a:xfrm>
              <a:off x="10752600" y="6494402"/>
              <a:ext cx="217421" cy="174789"/>
            </a:xfrm>
            <a:custGeom>
              <a:avLst/>
              <a:gdLst>
                <a:gd name="connsiteX0" fmla="*/ 0 w 217421"/>
                <a:gd name="connsiteY0" fmla="*/ 0 h 174789"/>
                <a:gd name="connsiteX1" fmla="*/ 0 w 217421"/>
                <a:gd name="connsiteY1" fmla="*/ 174790 h 174789"/>
                <a:gd name="connsiteX2" fmla="*/ 52579 w 217421"/>
                <a:gd name="connsiteY2" fmla="*/ 174790 h 174789"/>
                <a:gd name="connsiteX3" fmla="*/ 59684 w 217421"/>
                <a:gd name="connsiteY3" fmla="*/ 69632 h 174789"/>
                <a:gd name="connsiteX4" fmla="*/ 164842 w 217421"/>
                <a:gd name="connsiteY4" fmla="*/ 174790 h 174789"/>
                <a:gd name="connsiteX5" fmla="*/ 217421 w 217421"/>
                <a:gd name="connsiteY5" fmla="*/ 174790 h 174789"/>
                <a:gd name="connsiteX6" fmla="*/ 217421 w 217421"/>
                <a:gd name="connsiteY6" fmla="*/ 0 h 174789"/>
                <a:gd name="connsiteX7" fmla="*/ 162000 w 217421"/>
                <a:gd name="connsiteY7" fmla="*/ 0 h 174789"/>
                <a:gd name="connsiteX8" fmla="*/ 156316 w 217421"/>
                <a:gd name="connsiteY8" fmla="*/ 92369 h 174789"/>
                <a:gd name="connsiteX9" fmla="*/ 66789 w 217421"/>
                <a:gd name="connsiteY9" fmla="*/ 0 h 174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7421" h="174789">
                  <a:moveTo>
                    <a:pt x="0" y="0"/>
                  </a:moveTo>
                  <a:lnTo>
                    <a:pt x="0" y="174790"/>
                  </a:lnTo>
                  <a:lnTo>
                    <a:pt x="52579" y="174790"/>
                  </a:lnTo>
                  <a:lnTo>
                    <a:pt x="59684" y="69632"/>
                  </a:lnTo>
                  <a:lnTo>
                    <a:pt x="164842" y="174790"/>
                  </a:lnTo>
                  <a:lnTo>
                    <a:pt x="217421" y="174790"/>
                  </a:lnTo>
                  <a:lnTo>
                    <a:pt x="217421" y="0"/>
                  </a:lnTo>
                  <a:lnTo>
                    <a:pt x="162000" y="0"/>
                  </a:lnTo>
                  <a:lnTo>
                    <a:pt x="156316" y="92369"/>
                  </a:lnTo>
                  <a:lnTo>
                    <a:pt x="66789" y="0"/>
                  </a:lnTo>
                  <a:close/>
                </a:path>
              </a:pathLst>
            </a:custGeom>
            <a:solidFill>
              <a:srgbClr val="B70D18"/>
            </a:solidFill>
            <a:ln w="1416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1806EF12-398C-4FA4-9EBB-F4BA09658974}"/>
                </a:ext>
              </a:extLst>
            </p:cNvPr>
            <p:cNvSpPr/>
            <p:nvPr/>
          </p:nvSpPr>
          <p:spPr>
            <a:xfrm>
              <a:off x="11021178" y="6494402"/>
              <a:ext cx="58263" cy="176210"/>
            </a:xfrm>
            <a:custGeom>
              <a:avLst/>
              <a:gdLst>
                <a:gd name="connsiteX0" fmla="*/ 0 w 58263"/>
                <a:gd name="connsiteY0" fmla="*/ 0 h 176210"/>
                <a:gd name="connsiteX1" fmla="*/ 58263 w 58263"/>
                <a:gd name="connsiteY1" fmla="*/ 0 h 176210"/>
                <a:gd name="connsiteX2" fmla="*/ 58263 w 58263"/>
                <a:gd name="connsiteY2" fmla="*/ 176211 h 176210"/>
                <a:gd name="connsiteX3" fmla="*/ 0 w 58263"/>
                <a:gd name="connsiteY3" fmla="*/ 176211 h 176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263" h="176210">
                  <a:moveTo>
                    <a:pt x="0" y="0"/>
                  </a:moveTo>
                  <a:lnTo>
                    <a:pt x="58263" y="0"/>
                  </a:lnTo>
                  <a:lnTo>
                    <a:pt x="58263" y="176211"/>
                  </a:lnTo>
                  <a:lnTo>
                    <a:pt x="0" y="176211"/>
                  </a:lnTo>
                  <a:close/>
                </a:path>
              </a:pathLst>
            </a:custGeom>
            <a:solidFill>
              <a:srgbClr val="B70D18"/>
            </a:solidFill>
            <a:ln w="1416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grpSp>
          <p:nvGrpSpPr>
            <p:cNvPr id="9" name="Graphic 4">
              <a:extLst>
                <a:ext uri="{FF2B5EF4-FFF2-40B4-BE49-F238E27FC236}">
                  <a16:creationId xmlns:a16="http://schemas.microsoft.com/office/drawing/2014/main" id="{A2D4C4CC-2C2B-4E4A-BABE-191099A7DF52}"/>
                </a:ext>
              </a:extLst>
            </p:cNvPr>
            <p:cNvGrpSpPr/>
            <p:nvPr/>
          </p:nvGrpSpPr>
          <p:grpSpPr>
            <a:xfrm>
              <a:off x="11130600" y="6339508"/>
              <a:ext cx="697757" cy="333967"/>
              <a:chOff x="11130600" y="6339508"/>
              <a:chExt cx="697757" cy="333967"/>
            </a:xfrm>
            <a:solidFill>
              <a:srgbClr val="B70D18"/>
            </a:solidFill>
          </p:grpSpPr>
          <p:sp>
            <p:nvSpPr>
              <p:cNvPr id="10" name="Freeform: Shape 9">
                <a:extLst>
                  <a:ext uri="{FF2B5EF4-FFF2-40B4-BE49-F238E27FC236}">
                    <a16:creationId xmlns:a16="http://schemas.microsoft.com/office/drawing/2014/main" id="{78693BFF-818B-4A5E-928F-B07A728B5490}"/>
                  </a:ext>
                </a:extLst>
              </p:cNvPr>
              <p:cNvSpPr/>
              <p:nvPr/>
            </p:nvSpPr>
            <p:spPr>
              <a:xfrm>
                <a:off x="11130600" y="6490139"/>
                <a:ext cx="200489" cy="180473"/>
              </a:xfrm>
              <a:custGeom>
                <a:avLst/>
                <a:gdLst>
                  <a:gd name="connsiteX0" fmla="*/ 200368 w 200489"/>
                  <a:gd name="connsiteY0" fmla="*/ 55421 h 180473"/>
                  <a:gd name="connsiteX1" fmla="*/ 108000 w 200489"/>
                  <a:gd name="connsiteY1" fmla="*/ 0 h 180473"/>
                  <a:gd name="connsiteX2" fmla="*/ 0 w 200489"/>
                  <a:gd name="connsiteY2" fmla="*/ 2842 h 180473"/>
                  <a:gd name="connsiteX3" fmla="*/ 0 w 200489"/>
                  <a:gd name="connsiteY3" fmla="*/ 179053 h 180473"/>
                  <a:gd name="connsiteX4" fmla="*/ 52579 w 200489"/>
                  <a:gd name="connsiteY4" fmla="*/ 179053 h 180473"/>
                  <a:gd name="connsiteX5" fmla="*/ 61105 w 200489"/>
                  <a:gd name="connsiteY5" fmla="*/ 38368 h 180473"/>
                  <a:gd name="connsiteX6" fmla="*/ 96632 w 200489"/>
                  <a:gd name="connsiteY6" fmla="*/ 36947 h 180473"/>
                  <a:gd name="connsiteX7" fmla="*/ 136421 w 200489"/>
                  <a:gd name="connsiteY7" fmla="*/ 59684 h 180473"/>
                  <a:gd name="connsiteX8" fmla="*/ 81000 w 200489"/>
                  <a:gd name="connsiteY8" fmla="*/ 90947 h 180473"/>
                  <a:gd name="connsiteX9" fmla="*/ 81000 w 200489"/>
                  <a:gd name="connsiteY9" fmla="*/ 119369 h 180473"/>
                  <a:gd name="connsiteX10" fmla="*/ 137842 w 200489"/>
                  <a:gd name="connsiteY10" fmla="*/ 180474 h 180473"/>
                  <a:gd name="connsiteX11" fmla="*/ 198947 w 200489"/>
                  <a:gd name="connsiteY11" fmla="*/ 180474 h 180473"/>
                  <a:gd name="connsiteX12" fmla="*/ 153474 w 200489"/>
                  <a:gd name="connsiteY12" fmla="*/ 116526 h 180473"/>
                  <a:gd name="connsiteX13" fmla="*/ 200368 w 200489"/>
                  <a:gd name="connsiteY13" fmla="*/ 55421 h 1804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00489" h="180473">
                    <a:moveTo>
                      <a:pt x="200368" y="55421"/>
                    </a:moveTo>
                    <a:cubicBezTo>
                      <a:pt x="197526" y="9947"/>
                      <a:pt x="147789" y="1421"/>
                      <a:pt x="108000" y="0"/>
                    </a:cubicBezTo>
                    <a:cubicBezTo>
                      <a:pt x="75316" y="0"/>
                      <a:pt x="0" y="2842"/>
                      <a:pt x="0" y="2842"/>
                    </a:cubicBezTo>
                    <a:lnTo>
                      <a:pt x="0" y="179053"/>
                    </a:lnTo>
                    <a:lnTo>
                      <a:pt x="52579" y="179053"/>
                    </a:lnTo>
                    <a:lnTo>
                      <a:pt x="61105" y="38368"/>
                    </a:lnTo>
                    <a:cubicBezTo>
                      <a:pt x="61105" y="38368"/>
                      <a:pt x="82421" y="36947"/>
                      <a:pt x="96632" y="36947"/>
                    </a:cubicBezTo>
                    <a:cubicBezTo>
                      <a:pt x="119368" y="36947"/>
                      <a:pt x="135000" y="45474"/>
                      <a:pt x="136421" y="59684"/>
                    </a:cubicBezTo>
                    <a:cubicBezTo>
                      <a:pt x="137842" y="73895"/>
                      <a:pt x="132158" y="90947"/>
                      <a:pt x="81000" y="90947"/>
                    </a:cubicBezTo>
                    <a:lnTo>
                      <a:pt x="81000" y="119369"/>
                    </a:lnTo>
                    <a:lnTo>
                      <a:pt x="137842" y="180474"/>
                    </a:lnTo>
                    <a:lnTo>
                      <a:pt x="198947" y="180474"/>
                    </a:lnTo>
                    <a:lnTo>
                      <a:pt x="153474" y="116526"/>
                    </a:lnTo>
                    <a:cubicBezTo>
                      <a:pt x="154895" y="115105"/>
                      <a:pt x="203211" y="102316"/>
                      <a:pt x="200368" y="55421"/>
                    </a:cubicBezTo>
                  </a:path>
                </a:pathLst>
              </a:custGeom>
              <a:solidFill>
                <a:srgbClr val="B70D18"/>
              </a:solidFill>
              <a:ln w="141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1" name="Freeform: Shape 10">
                <a:extLst>
                  <a:ext uri="{FF2B5EF4-FFF2-40B4-BE49-F238E27FC236}">
                    <a16:creationId xmlns:a16="http://schemas.microsoft.com/office/drawing/2014/main" id="{1B46F5E6-A5F0-4105-B4BA-6AEC5163ACC5}"/>
                  </a:ext>
                </a:extLst>
              </p:cNvPr>
              <p:cNvSpPr/>
              <p:nvPr/>
            </p:nvSpPr>
            <p:spPr>
              <a:xfrm>
                <a:off x="11357968" y="6471666"/>
                <a:ext cx="261473" cy="197526"/>
              </a:xfrm>
              <a:custGeom>
                <a:avLst/>
                <a:gdLst>
                  <a:gd name="connsiteX0" fmla="*/ 176211 w 261473"/>
                  <a:gd name="connsiteY0" fmla="*/ 22737 h 197526"/>
                  <a:gd name="connsiteX1" fmla="*/ 89526 w 261473"/>
                  <a:gd name="connsiteY1" fmla="*/ 22737 h 197526"/>
                  <a:gd name="connsiteX2" fmla="*/ 52579 w 261473"/>
                  <a:gd name="connsiteY2" fmla="*/ 92369 h 197526"/>
                  <a:gd name="connsiteX3" fmla="*/ 1421 w 261473"/>
                  <a:gd name="connsiteY3" fmla="*/ 0 h 197526"/>
                  <a:gd name="connsiteX4" fmla="*/ 0 w 261473"/>
                  <a:gd name="connsiteY4" fmla="*/ 0 h 197526"/>
                  <a:gd name="connsiteX5" fmla="*/ 0 w 261473"/>
                  <a:gd name="connsiteY5" fmla="*/ 75316 h 197526"/>
                  <a:gd name="connsiteX6" fmla="*/ 32684 w 261473"/>
                  <a:gd name="connsiteY6" fmla="*/ 135000 h 197526"/>
                  <a:gd name="connsiteX7" fmla="*/ 2842 w 261473"/>
                  <a:gd name="connsiteY7" fmla="*/ 197527 h 197526"/>
                  <a:gd name="connsiteX8" fmla="*/ 59684 w 261473"/>
                  <a:gd name="connsiteY8" fmla="*/ 197527 h 197526"/>
                  <a:gd name="connsiteX9" fmla="*/ 78158 w 261473"/>
                  <a:gd name="connsiteY9" fmla="*/ 163421 h 197526"/>
                  <a:gd name="connsiteX10" fmla="*/ 78158 w 261473"/>
                  <a:gd name="connsiteY10" fmla="*/ 163421 h 197526"/>
                  <a:gd name="connsiteX11" fmla="*/ 133579 w 261473"/>
                  <a:gd name="connsiteY11" fmla="*/ 173369 h 197526"/>
                  <a:gd name="connsiteX12" fmla="*/ 133579 w 261473"/>
                  <a:gd name="connsiteY12" fmla="*/ 123632 h 197526"/>
                  <a:gd name="connsiteX13" fmla="*/ 102316 w 261473"/>
                  <a:gd name="connsiteY13" fmla="*/ 117948 h 197526"/>
                  <a:gd name="connsiteX14" fmla="*/ 130737 w 261473"/>
                  <a:gd name="connsiteY14" fmla="*/ 66790 h 197526"/>
                  <a:gd name="connsiteX15" fmla="*/ 204632 w 261473"/>
                  <a:gd name="connsiteY15" fmla="*/ 197527 h 197526"/>
                  <a:gd name="connsiteX16" fmla="*/ 261474 w 261473"/>
                  <a:gd name="connsiteY16" fmla="*/ 197527 h 197526"/>
                  <a:gd name="connsiteX17" fmla="*/ 217421 w 261473"/>
                  <a:gd name="connsiteY17" fmla="*/ 105158 h 197526"/>
                  <a:gd name="connsiteX18" fmla="*/ 176211 w 261473"/>
                  <a:gd name="connsiteY18" fmla="*/ 22737 h 1975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61473" h="197526">
                    <a:moveTo>
                      <a:pt x="176211" y="22737"/>
                    </a:moveTo>
                    <a:lnTo>
                      <a:pt x="89526" y="22737"/>
                    </a:lnTo>
                    <a:cubicBezTo>
                      <a:pt x="89526" y="22737"/>
                      <a:pt x="81000" y="35526"/>
                      <a:pt x="52579" y="92369"/>
                    </a:cubicBezTo>
                    <a:cubicBezTo>
                      <a:pt x="14211" y="61105"/>
                      <a:pt x="4263" y="19895"/>
                      <a:pt x="1421" y="0"/>
                    </a:cubicBezTo>
                    <a:lnTo>
                      <a:pt x="0" y="0"/>
                    </a:lnTo>
                    <a:lnTo>
                      <a:pt x="0" y="75316"/>
                    </a:lnTo>
                    <a:cubicBezTo>
                      <a:pt x="0" y="75316"/>
                      <a:pt x="5684" y="108000"/>
                      <a:pt x="32684" y="135000"/>
                    </a:cubicBezTo>
                    <a:cubicBezTo>
                      <a:pt x="7105" y="187579"/>
                      <a:pt x="2842" y="197527"/>
                      <a:pt x="2842" y="197527"/>
                    </a:cubicBezTo>
                    <a:lnTo>
                      <a:pt x="59684" y="197527"/>
                    </a:lnTo>
                    <a:lnTo>
                      <a:pt x="78158" y="163421"/>
                    </a:lnTo>
                    <a:cubicBezTo>
                      <a:pt x="78158" y="163421"/>
                      <a:pt x="78158" y="163421"/>
                      <a:pt x="78158" y="163421"/>
                    </a:cubicBezTo>
                    <a:cubicBezTo>
                      <a:pt x="106579" y="173369"/>
                      <a:pt x="133579" y="173369"/>
                      <a:pt x="133579" y="173369"/>
                    </a:cubicBezTo>
                    <a:lnTo>
                      <a:pt x="133579" y="123632"/>
                    </a:lnTo>
                    <a:cubicBezTo>
                      <a:pt x="133579" y="123632"/>
                      <a:pt x="120789" y="123632"/>
                      <a:pt x="102316" y="117948"/>
                    </a:cubicBezTo>
                    <a:lnTo>
                      <a:pt x="130737" y="66790"/>
                    </a:lnTo>
                    <a:lnTo>
                      <a:pt x="204632" y="197527"/>
                    </a:lnTo>
                    <a:lnTo>
                      <a:pt x="261474" y="197527"/>
                    </a:lnTo>
                    <a:cubicBezTo>
                      <a:pt x="261474" y="197527"/>
                      <a:pt x="254368" y="180474"/>
                      <a:pt x="217421" y="105158"/>
                    </a:cubicBezTo>
                    <a:cubicBezTo>
                      <a:pt x="184737" y="35526"/>
                      <a:pt x="176211" y="22737"/>
                      <a:pt x="176211" y="22737"/>
                    </a:cubicBezTo>
                  </a:path>
                </a:pathLst>
              </a:custGeom>
              <a:solidFill>
                <a:srgbClr val="B70D18"/>
              </a:solidFill>
              <a:ln w="141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CD2B355B-A69B-4385-9164-C01A9C7BD298}"/>
                  </a:ext>
                </a:extLst>
              </p:cNvPr>
              <p:cNvSpPr/>
              <p:nvPr/>
            </p:nvSpPr>
            <p:spPr>
              <a:xfrm>
                <a:off x="11636494" y="6485648"/>
                <a:ext cx="191863" cy="187826"/>
              </a:xfrm>
              <a:custGeom>
                <a:avLst/>
                <a:gdLst>
                  <a:gd name="connsiteX0" fmla="*/ 95211 w 191863"/>
                  <a:gd name="connsiteY0" fmla="*/ 69860 h 187826"/>
                  <a:gd name="connsiteX1" fmla="*/ 66789 w 191863"/>
                  <a:gd name="connsiteY1" fmla="*/ 55649 h 187826"/>
                  <a:gd name="connsiteX2" fmla="*/ 110842 w 191863"/>
                  <a:gd name="connsiteY2" fmla="*/ 40018 h 187826"/>
                  <a:gd name="connsiteX3" fmla="*/ 180474 w 191863"/>
                  <a:gd name="connsiteY3" fmla="*/ 45702 h 187826"/>
                  <a:gd name="connsiteX4" fmla="*/ 180474 w 191863"/>
                  <a:gd name="connsiteY4" fmla="*/ 4491 h 187826"/>
                  <a:gd name="connsiteX5" fmla="*/ 90947 w 191863"/>
                  <a:gd name="connsiteY5" fmla="*/ 228 h 187826"/>
                  <a:gd name="connsiteX6" fmla="*/ 0 w 191863"/>
                  <a:gd name="connsiteY6" fmla="*/ 59912 h 187826"/>
                  <a:gd name="connsiteX7" fmla="*/ 105158 w 191863"/>
                  <a:gd name="connsiteY7" fmla="*/ 119597 h 187826"/>
                  <a:gd name="connsiteX8" fmla="*/ 129316 w 191863"/>
                  <a:gd name="connsiteY8" fmla="*/ 130965 h 187826"/>
                  <a:gd name="connsiteX9" fmla="*/ 73895 w 191863"/>
                  <a:gd name="connsiteY9" fmla="*/ 146597 h 187826"/>
                  <a:gd name="connsiteX10" fmla="*/ 7105 w 191863"/>
                  <a:gd name="connsiteY10" fmla="*/ 138070 h 187826"/>
                  <a:gd name="connsiteX11" fmla="*/ 7105 w 191863"/>
                  <a:gd name="connsiteY11" fmla="*/ 182123 h 187826"/>
                  <a:gd name="connsiteX12" fmla="*/ 89526 w 191863"/>
                  <a:gd name="connsiteY12" fmla="*/ 187807 h 187826"/>
                  <a:gd name="connsiteX13" fmla="*/ 191842 w 191863"/>
                  <a:gd name="connsiteY13" fmla="*/ 128123 h 187826"/>
                  <a:gd name="connsiteX14" fmla="*/ 95211 w 191863"/>
                  <a:gd name="connsiteY14" fmla="*/ 69860 h 1878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91863" h="187826">
                    <a:moveTo>
                      <a:pt x="95211" y="69860"/>
                    </a:moveTo>
                    <a:cubicBezTo>
                      <a:pt x="76737" y="68439"/>
                      <a:pt x="66789" y="64176"/>
                      <a:pt x="66789" y="55649"/>
                    </a:cubicBezTo>
                    <a:cubicBezTo>
                      <a:pt x="66789" y="44281"/>
                      <a:pt x="81000" y="40018"/>
                      <a:pt x="110842" y="40018"/>
                    </a:cubicBezTo>
                    <a:cubicBezTo>
                      <a:pt x="140684" y="40018"/>
                      <a:pt x="180474" y="45702"/>
                      <a:pt x="180474" y="45702"/>
                    </a:cubicBezTo>
                    <a:lnTo>
                      <a:pt x="180474" y="4491"/>
                    </a:lnTo>
                    <a:cubicBezTo>
                      <a:pt x="180474" y="4491"/>
                      <a:pt x="135000" y="-1193"/>
                      <a:pt x="90947" y="228"/>
                    </a:cubicBezTo>
                    <a:cubicBezTo>
                      <a:pt x="75316" y="228"/>
                      <a:pt x="0" y="228"/>
                      <a:pt x="0" y="59912"/>
                    </a:cubicBezTo>
                    <a:cubicBezTo>
                      <a:pt x="0" y="116755"/>
                      <a:pt x="73895" y="118176"/>
                      <a:pt x="105158" y="119597"/>
                    </a:cubicBezTo>
                    <a:cubicBezTo>
                      <a:pt x="116526" y="119597"/>
                      <a:pt x="129316" y="122439"/>
                      <a:pt x="129316" y="130965"/>
                    </a:cubicBezTo>
                    <a:cubicBezTo>
                      <a:pt x="130737" y="143755"/>
                      <a:pt x="108000" y="146597"/>
                      <a:pt x="73895" y="146597"/>
                    </a:cubicBezTo>
                    <a:cubicBezTo>
                      <a:pt x="39789" y="146597"/>
                      <a:pt x="7105" y="138070"/>
                      <a:pt x="7105" y="138070"/>
                    </a:cubicBezTo>
                    <a:lnTo>
                      <a:pt x="7105" y="182123"/>
                    </a:lnTo>
                    <a:cubicBezTo>
                      <a:pt x="7105" y="182123"/>
                      <a:pt x="54000" y="187807"/>
                      <a:pt x="89526" y="187807"/>
                    </a:cubicBezTo>
                    <a:cubicBezTo>
                      <a:pt x="105158" y="187807"/>
                      <a:pt x="193263" y="190649"/>
                      <a:pt x="191842" y="128123"/>
                    </a:cubicBezTo>
                    <a:cubicBezTo>
                      <a:pt x="193263" y="64176"/>
                      <a:pt x="122211" y="71281"/>
                      <a:pt x="95211" y="69860"/>
                    </a:cubicBezTo>
                  </a:path>
                </a:pathLst>
              </a:custGeom>
              <a:solidFill>
                <a:srgbClr val="B70D18"/>
              </a:solidFill>
              <a:ln w="141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0221DD12-4B4F-4911-85F2-7657655003F6}"/>
                  </a:ext>
                </a:extLst>
              </p:cNvPr>
              <p:cNvSpPr/>
              <p:nvPr/>
            </p:nvSpPr>
            <p:spPr>
              <a:xfrm>
                <a:off x="11392023" y="6339508"/>
                <a:ext cx="100945" cy="137842"/>
              </a:xfrm>
              <a:custGeom>
                <a:avLst/>
                <a:gdLst>
                  <a:gd name="connsiteX0" fmla="*/ 4314 w 100945"/>
                  <a:gd name="connsiteY0" fmla="*/ 137842 h 137842"/>
                  <a:gd name="connsiteX1" fmla="*/ 100945 w 100945"/>
                  <a:gd name="connsiteY1" fmla="*/ 55421 h 137842"/>
                  <a:gd name="connsiteX2" fmla="*/ 100945 w 100945"/>
                  <a:gd name="connsiteY2" fmla="*/ 0 h 137842"/>
                  <a:gd name="connsiteX3" fmla="*/ 51 w 100945"/>
                  <a:gd name="connsiteY3" fmla="*/ 109421 h 137842"/>
                  <a:gd name="connsiteX4" fmla="*/ 4314 w 100945"/>
                  <a:gd name="connsiteY4" fmla="*/ 137842 h 137842"/>
                  <a:gd name="connsiteX5" fmla="*/ 4314 w 100945"/>
                  <a:gd name="connsiteY5" fmla="*/ 137842 h 137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0945" h="137842">
                    <a:moveTo>
                      <a:pt x="4314" y="137842"/>
                    </a:moveTo>
                    <a:cubicBezTo>
                      <a:pt x="11419" y="99474"/>
                      <a:pt x="49787" y="56842"/>
                      <a:pt x="100945" y="55421"/>
                    </a:cubicBezTo>
                    <a:lnTo>
                      <a:pt x="100945" y="0"/>
                    </a:lnTo>
                    <a:cubicBezTo>
                      <a:pt x="27051" y="8526"/>
                      <a:pt x="-1370" y="72474"/>
                      <a:pt x="51" y="109421"/>
                    </a:cubicBezTo>
                    <a:cubicBezTo>
                      <a:pt x="51" y="119369"/>
                      <a:pt x="1472" y="129316"/>
                      <a:pt x="4314" y="137842"/>
                    </a:cubicBezTo>
                    <a:lnTo>
                      <a:pt x="4314" y="137842"/>
                    </a:lnTo>
                    <a:close/>
                  </a:path>
                </a:pathLst>
              </a:custGeom>
              <a:solidFill>
                <a:srgbClr val="B70D18"/>
              </a:solidFill>
              <a:ln w="141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</p:grpSp>
      </p:grpSp>
      <p:sp>
        <p:nvSpPr>
          <p:cNvPr id="28" name="Title Placeholder 1">
            <a:extLst>
              <a:ext uri="{FF2B5EF4-FFF2-40B4-BE49-F238E27FC236}">
                <a16:creationId xmlns:a16="http://schemas.microsoft.com/office/drawing/2014/main" id="{26901368-4EA8-43C6-85D2-8F5806EB67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37118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/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8EAF4C72-F900-4059-9C84-2813E8024B7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97554" y="1764000"/>
            <a:ext cx="2399607" cy="1239284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17" name="Picture Placeholder 14">
            <a:extLst>
              <a:ext uri="{FF2B5EF4-FFF2-40B4-BE49-F238E27FC236}">
                <a16:creationId xmlns:a16="http://schemas.microsoft.com/office/drawing/2014/main" id="{42F63370-8532-4D34-9446-E54D6CC8C191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462508" y="1764000"/>
            <a:ext cx="2399607" cy="1239284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18" name="Picture Placeholder 14">
            <a:extLst>
              <a:ext uri="{FF2B5EF4-FFF2-40B4-BE49-F238E27FC236}">
                <a16:creationId xmlns:a16="http://schemas.microsoft.com/office/drawing/2014/main" id="{171A715E-F61B-4612-B801-1A94422B829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992416" y="1764000"/>
            <a:ext cx="2399607" cy="1239284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19" name="Picture Placeholder 14">
            <a:extLst>
              <a:ext uri="{FF2B5EF4-FFF2-40B4-BE49-F238E27FC236}">
                <a16:creationId xmlns:a16="http://schemas.microsoft.com/office/drawing/2014/main" id="{EB3AB690-E499-4D45-A7C5-BDF760163EA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227462" y="1764000"/>
            <a:ext cx="2399607" cy="1239284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0" name="Picture Placeholder 14">
            <a:extLst>
              <a:ext uri="{FF2B5EF4-FFF2-40B4-BE49-F238E27FC236}">
                <a16:creationId xmlns:a16="http://schemas.microsoft.com/office/drawing/2014/main" id="{0DC306A9-D475-4FEB-A51C-B49BDF16759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97553" y="3204000"/>
            <a:ext cx="2399607" cy="1239284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1" name="Picture Placeholder 14">
            <a:extLst>
              <a:ext uri="{FF2B5EF4-FFF2-40B4-BE49-F238E27FC236}">
                <a16:creationId xmlns:a16="http://schemas.microsoft.com/office/drawing/2014/main" id="{B6329C3A-A9AF-419A-B247-3089AE0F22C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462508" y="3204000"/>
            <a:ext cx="2399607" cy="1239284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2" name="Picture Placeholder 14">
            <a:extLst>
              <a:ext uri="{FF2B5EF4-FFF2-40B4-BE49-F238E27FC236}">
                <a16:creationId xmlns:a16="http://schemas.microsoft.com/office/drawing/2014/main" id="{F11B47FB-3100-49F0-8967-F6148B9AA7B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992415" y="3204000"/>
            <a:ext cx="2399607" cy="1239284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3" name="Picture Placeholder 14">
            <a:extLst>
              <a:ext uri="{FF2B5EF4-FFF2-40B4-BE49-F238E27FC236}">
                <a16:creationId xmlns:a16="http://schemas.microsoft.com/office/drawing/2014/main" id="{E4CD6A19-31A7-4B97-967B-C1BACF39AE0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27461" y="3204000"/>
            <a:ext cx="2399607" cy="1239284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4" name="Picture Placeholder 14">
            <a:extLst>
              <a:ext uri="{FF2B5EF4-FFF2-40B4-BE49-F238E27FC236}">
                <a16:creationId xmlns:a16="http://schemas.microsoft.com/office/drawing/2014/main" id="{FBF60AD9-F665-408B-A07D-3DA9848947EC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97553" y="4644000"/>
            <a:ext cx="2399607" cy="1239284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5" name="Picture Placeholder 14">
            <a:extLst>
              <a:ext uri="{FF2B5EF4-FFF2-40B4-BE49-F238E27FC236}">
                <a16:creationId xmlns:a16="http://schemas.microsoft.com/office/drawing/2014/main" id="{DEA30BE2-219A-43AF-BF54-8195F9E3A87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462507" y="4644000"/>
            <a:ext cx="2399607" cy="1239284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6" name="Picture Placeholder 14">
            <a:extLst>
              <a:ext uri="{FF2B5EF4-FFF2-40B4-BE49-F238E27FC236}">
                <a16:creationId xmlns:a16="http://schemas.microsoft.com/office/drawing/2014/main" id="{85B17022-B96A-4BA4-B52D-1737627682A5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8992413" y="4644000"/>
            <a:ext cx="2399607" cy="1239284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7" name="Picture Placeholder 14">
            <a:extLst>
              <a:ext uri="{FF2B5EF4-FFF2-40B4-BE49-F238E27FC236}">
                <a16:creationId xmlns:a16="http://schemas.microsoft.com/office/drawing/2014/main" id="{3D74F5FE-7F34-46A1-8FEF-A8ADA2AC5B78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227459" y="4644000"/>
            <a:ext cx="2399607" cy="1239284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560C2AD8-F799-44A4-8DDA-EDF7465EE8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641356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orient="horz" pos="1111" userDrawn="1">
          <p15:clr>
            <a:srgbClr val="A4A3A4"/>
          </p15:clr>
        </p15:guide>
        <p15:guide id="13" orient="horz" pos="2018" userDrawn="1">
          <p15:clr>
            <a:srgbClr val="A4A3A4"/>
          </p15:clr>
        </p15:guide>
        <p15:guide id="14" orient="horz" pos="2925" userDrawn="1">
          <p15:clr>
            <a:srgbClr val="A4A3A4"/>
          </p15:clr>
        </p15:guide>
        <p15:guide id="15" pos="439" userDrawn="1">
          <p15:clr>
            <a:srgbClr val="A4A3A4"/>
          </p15:clr>
        </p15:guide>
        <p15:guide id="16" pos="1952" userDrawn="1">
          <p15:clr>
            <a:srgbClr val="A4A3A4"/>
          </p15:clr>
        </p15:guide>
        <p15:guide id="17" pos="2181" userDrawn="1">
          <p15:clr>
            <a:srgbClr val="A4A3A4"/>
          </p15:clr>
        </p15:guide>
        <p15:guide id="18" pos="3694" userDrawn="1">
          <p15:clr>
            <a:srgbClr val="A4A3A4"/>
          </p15:clr>
        </p15:guide>
        <p15:guide id="19" pos="3923" userDrawn="1">
          <p15:clr>
            <a:srgbClr val="A4A3A4"/>
          </p15:clr>
        </p15:guide>
        <p15:guide id="20" pos="5435" userDrawn="1">
          <p15:clr>
            <a:srgbClr val="A4A3A4"/>
          </p15:clr>
        </p15:guide>
        <p15:guide id="21" pos="5664" userDrawn="1">
          <p15:clr>
            <a:srgbClr val="A4A3A4"/>
          </p15:clr>
        </p15:guide>
        <p15:guide id="22" pos="7179" userDrawn="1">
          <p15:clr>
            <a:srgbClr val="A4A3A4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Reference horis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"/>
            <a:ext cx="12193200" cy="4261448"/>
          </a:xfrm>
          <a:prstGeom prst="rect">
            <a:avLst/>
          </a:prstGeom>
          <a:solidFill>
            <a:schemeClr val="accent1"/>
          </a:solidFill>
        </p:spPr>
        <p:txBody>
          <a:bodyPr lIns="0" tIns="900000" anchor="ctr" anchorCtr="0"/>
          <a:lstStyle>
            <a:lvl1pPr marL="0" indent="0" algn="ctr">
              <a:buNone/>
              <a:defRPr sz="1600" baseline="0"/>
            </a:lvl1pPr>
          </a:lstStyle>
          <a:p>
            <a:r>
              <a:rPr lang="en-GB" dirty="0"/>
              <a:t>Click and insert image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511AF70C-4FFB-4814-BA67-BEF4AB12EAC9}"/>
              </a:ext>
            </a:extLst>
          </p:cNvPr>
          <p:cNvSpPr txBox="1">
            <a:spLocks/>
          </p:cNvSpPr>
          <p:nvPr/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6A25B022-A987-46E0-A735-17F8473A3558}"/>
              </a:ext>
            </a:extLst>
          </p:cNvPr>
          <p:cNvSpPr txBox="1">
            <a:spLocks/>
          </p:cNvSpPr>
          <p:nvPr/>
        </p:nvSpPr>
        <p:spPr>
          <a:xfrm>
            <a:off x="10762637" y="6339507"/>
            <a:ext cx="1069963" cy="341053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5" name="Pladsholder til diasnummer 4" hidden="1"/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D5FEA3CA-05C1-473E-929F-93A72C953AA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8800" y="4485737"/>
            <a:ext cx="5540550" cy="1673763"/>
          </a:xfrm>
        </p:spPr>
        <p:txBody>
          <a:bodyPr lIns="72000" tIns="36000" rIns="72000" bIns="3600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221EF28-4459-40E0-85E3-97CFD712297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92800" y="4485737"/>
            <a:ext cx="5540400" cy="1673763"/>
          </a:xfrm>
        </p:spPr>
        <p:txBody>
          <a:bodyPr lIns="72000" tIns="36000" rIns="72000" bIns="3600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612166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2825" userDrawn="1">
          <p15:clr>
            <a:srgbClr val="A4A3A4"/>
          </p15:clr>
        </p15:guide>
        <p15:guide id="5" pos="3716" userDrawn="1">
          <p15:clr>
            <a:srgbClr val="A4A3A4"/>
          </p15:clr>
        </p15:guide>
        <p15:guide id="6" pos="3963" userDrawn="1">
          <p15:clr>
            <a:srgbClr val="A4A3A4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image &amp; title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FD8C2F4C-FD8E-4BC1-8470-ED613BBC34C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1"/>
            <a:ext cx="12193200" cy="6857999"/>
          </a:xfrm>
          <a:prstGeom prst="rect">
            <a:avLst/>
          </a:prstGeom>
          <a:solidFill>
            <a:schemeClr val="accent1"/>
          </a:solidFill>
        </p:spPr>
        <p:txBody>
          <a:bodyPr lIns="0" tIns="900000" anchor="ctr" anchorCtr="0"/>
          <a:lstStyle>
            <a:lvl1pPr marL="0" indent="0" algn="ctr">
              <a:buNone/>
              <a:defRPr sz="1600" baseline="0"/>
            </a:lvl1pPr>
          </a:lstStyle>
          <a:p>
            <a:r>
              <a:rPr lang="en-GB" dirty="0"/>
              <a:t>Click and insert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C263996-270B-49F6-AC9C-5FC3D40EF87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0000" y="1765041"/>
            <a:ext cx="10333037" cy="914151"/>
          </a:xfrm>
          <a:prstGeom prst="rect">
            <a:avLst/>
          </a:prstGeom>
        </p:spPr>
        <p:txBody>
          <a:bodyPr lIns="72000" tIns="36000" rIns="72000" bIns="36000" anchor="t"/>
          <a:lstStyle>
            <a:lvl1pPr algn="l">
              <a:defRPr sz="60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79446C3-1B3E-43F7-897B-450B7777A27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0000" y="2871743"/>
            <a:ext cx="5572062" cy="1655762"/>
          </a:xfrm>
          <a:prstGeom prst="rect">
            <a:avLst/>
          </a:prstGeom>
        </p:spPr>
        <p:txBody>
          <a:bodyPr lIns="72000" tIns="36000" rIns="72000" bIns="36000"/>
          <a:lstStyle>
            <a:lvl1pPr marL="0" indent="0" algn="l">
              <a:buNone/>
              <a:defRPr sz="240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18" name="Logo on top">
            <a:extLst>
              <a:ext uri="{FF2B5EF4-FFF2-40B4-BE49-F238E27FC236}">
                <a16:creationId xmlns:a16="http://schemas.microsoft.com/office/drawing/2014/main" id="{655DB364-E850-4C04-AB58-1D6949A77611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0728000" y="6339600"/>
            <a:ext cx="1080000" cy="340069"/>
          </a:xfrm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595959"/>
          </a:solidFill>
        </p:spPr>
        <p:txBody>
          <a:bodyPr lIns="0" tIns="0" rIns="0" bIns="0"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19" name="White line">
            <a:extLst>
              <a:ext uri="{FF2B5EF4-FFF2-40B4-BE49-F238E27FC236}">
                <a16:creationId xmlns:a16="http://schemas.microsoft.com/office/drawing/2014/main" id="{D4B4C4D5-C379-4BE9-A1DE-B763BE10C49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 rot="5400000">
            <a:off x="1653150" y="1470467"/>
            <a:ext cx="90000" cy="2520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indent="0"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20" name="White line">
            <a:extLst>
              <a:ext uri="{FF2B5EF4-FFF2-40B4-BE49-F238E27FC236}">
                <a16:creationId xmlns:a16="http://schemas.microsoft.com/office/drawing/2014/main" id="{B3EFD42D-2BB3-4D67-8B48-795DDC62CD1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 rot="5400000">
            <a:off x="10922999" y="-728609"/>
            <a:ext cx="18000" cy="2520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indent="0"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99D09BE9-A839-4C19-A8EE-AF2BFDC5901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5743337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image &amp; titl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FD8C2F4C-FD8E-4BC1-8470-ED613BBC34C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3200" cy="6857999"/>
          </a:xfrm>
          <a:prstGeom prst="rect">
            <a:avLst/>
          </a:prstGeom>
          <a:solidFill>
            <a:schemeClr val="accent6"/>
          </a:solidFill>
        </p:spPr>
        <p:txBody>
          <a:bodyPr lIns="0" tIns="900000" anchor="ctr" anchorCtr="0"/>
          <a:lstStyle>
            <a:lvl1pPr marL="0" indent="0" algn="ctr">
              <a:buNone/>
              <a:defRPr sz="160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and insert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C263996-270B-49F6-AC9C-5FC3D40EF87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0000" y="1765041"/>
            <a:ext cx="10333037" cy="914151"/>
          </a:xfrm>
          <a:prstGeom prst="rect">
            <a:avLst/>
          </a:prstGeom>
        </p:spPr>
        <p:txBody>
          <a:bodyPr lIns="72000" tIns="36000" rIns="72000" bIns="36000" anchor="t"/>
          <a:lstStyle>
            <a:lvl1pPr algn="l">
              <a:defRPr sz="60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79446C3-1B3E-43F7-897B-450B7777A27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0000" y="2871743"/>
            <a:ext cx="5572062" cy="1655762"/>
          </a:xfrm>
          <a:prstGeom prst="rect">
            <a:avLst/>
          </a:prstGeom>
        </p:spPr>
        <p:txBody>
          <a:bodyPr lIns="72000" tIns="36000" rIns="72000" bIns="36000"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12" name="Logo on top">
            <a:extLst>
              <a:ext uri="{FF2B5EF4-FFF2-40B4-BE49-F238E27FC236}">
                <a16:creationId xmlns:a16="http://schemas.microsoft.com/office/drawing/2014/main" id="{65075359-2A7A-450A-9B61-C30CE49C3225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0753200" y="6339600"/>
            <a:ext cx="1080000" cy="340069"/>
          </a:xfrm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FFFFFF"/>
          </a:solidFill>
        </p:spPr>
        <p:txBody>
          <a:bodyPr lIns="0" tIns="0" rIns="0" bIns="0"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14" name="White line">
            <a:extLst>
              <a:ext uri="{FF2B5EF4-FFF2-40B4-BE49-F238E27FC236}">
                <a16:creationId xmlns:a16="http://schemas.microsoft.com/office/drawing/2014/main" id="{107ED4AD-E914-48D0-8885-D4F41984010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 rot="5400000">
            <a:off x="1653150" y="1470467"/>
            <a:ext cx="90000" cy="252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15" name="White line">
            <a:extLst>
              <a:ext uri="{FF2B5EF4-FFF2-40B4-BE49-F238E27FC236}">
                <a16:creationId xmlns:a16="http://schemas.microsoft.com/office/drawing/2014/main" id="{C1A7A007-4677-42A8-9824-D5CAB828B47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 rot="5400000">
            <a:off x="10922999" y="-728609"/>
            <a:ext cx="18000" cy="252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C2353EBE-706E-4F26-8C7D-B11CBD9D83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5969787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imag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accent1"/>
          </a:solidFill>
        </p:spPr>
        <p:txBody>
          <a:bodyPr lIns="0" tIns="900000"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aseline="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and insert image</a:t>
            </a:r>
            <a:endParaRPr lang="en-US" dirty="0"/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US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/>
              <a:t>Dokument id her</a:t>
            </a:r>
            <a:endParaRPr lang="en-GB" dirty="0"/>
          </a:p>
        </p:txBody>
      </p:sp>
      <p:sp>
        <p:nvSpPr>
          <p:cNvPr id="20" name="Logo on top">
            <a:extLst>
              <a:ext uri="{FF2B5EF4-FFF2-40B4-BE49-F238E27FC236}">
                <a16:creationId xmlns:a16="http://schemas.microsoft.com/office/drawing/2014/main" id="{E62EE4E3-C4C4-4FC3-A816-7A23933DD733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0753200" y="6339600"/>
            <a:ext cx="1080000" cy="340069"/>
          </a:xfrm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FFFFFF"/>
          </a:solidFill>
        </p:spPr>
        <p:txBody>
          <a:bodyPr lIns="0" tIns="0" rIns="0" bIns="0"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21" name="White line">
            <a:extLst>
              <a:ext uri="{FF2B5EF4-FFF2-40B4-BE49-F238E27FC236}">
                <a16:creationId xmlns:a16="http://schemas.microsoft.com/office/drawing/2014/main" id="{B16DEDED-6C8F-4CF2-AFA4-2AA6843B215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 rot="5400000">
            <a:off x="1215000" y="4933757"/>
            <a:ext cx="90000" cy="252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22" name="White line">
            <a:extLst>
              <a:ext uri="{FF2B5EF4-FFF2-40B4-BE49-F238E27FC236}">
                <a16:creationId xmlns:a16="http://schemas.microsoft.com/office/drawing/2014/main" id="{5D1CA2FF-258B-4403-BC7E-7A21CDA0057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 rot="5400000">
            <a:off x="10922999" y="-728609"/>
            <a:ext cx="18000" cy="2520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5D6E7766-B064-47AD-88DF-F66F05D38D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A74B0496-0B0B-4655-8059-FD85131AC819}"/>
              </a:ext>
            </a:extLst>
          </p:cNvPr>
          <p:cNvSpPr txBox="1">
            <a:spLocks/>
          </p:cNvSpPr>
          <p:nvPr/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800" smtClean="0">
                <a:solidFill>
                  <a:schemeClr val="bg1"/>
                </a:solidFill>
              </a:rPr>
              <a:pPr/>
              <a:t>‹#›</a:t>
            </a:fld>
            <a:endParaRPr lang="en-GB" sz="800" dirty="0">
              <a:solidFill>
                <a:schemeClr val="bg1"/>
              </a:solidFill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32415F9B-1B20-464B-BCFF-051328026BD8}"/>
              </a:ext>
            </a:extLst>
          </p:cNvPr>
          <p:cNvSpPr txBox="1">
            <a:spLocks/>
          </p:cNvSpPr>
          <p:nvPr userDrawn="1"/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800" smtClean="0">
                <a:solidFill>
                  <a:schemeClr val="bg1"/>
                </a:solidFill>
              </a:rPr>
              <a:pPr/>
              <a:t>‹#›</a:t>
            </a:fld>
            <a:endParaRPr lang="en-GB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283531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image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accent1"/>
          </a:solidFill>
        </p:spPr>
        <p:txBody>
          <a:bodyPr lIns="0" tIns="900000"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aseline="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and insert image</a:t>
            </a:r>
            <a:endParaRPr lang="en-US" dirty="0"/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US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/>
              <a:t>Dokument id her</a:t>
            </a:r>
            <a:endParaRPr lang="en-GB" dirty="0"/>
          </a:p>
        </p:txBody>
      </p:sp>
      <p:sp>
        <p:nvSpPr>
          <p:cNvPr id="18" name="White line">
            <a:extLst>
              <a:ext uri="{FF2B5EF4-FFF2-40B4-BE49-F238E27FC236}">
                <a16:creationId xmlns:a16="http://schemas.microsoft.com/office/drawing/2014/main" id="{C3E84107-2491-4BA2-852A-1F51940A860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 rot="5400000">
            <a:off x="1215000" y="4933757"/>
            <a:ext cx="90000" cy="2520000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marL="0" indent="0"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19" name="White line">
            <a:extLst>
              <a:ext uri="{FF2B5EF4-FFF2-40B4-BE49-F238E27FC236}">
                <a16:creationId xmlns:a16="http://schemas.microsoft.com/office/drawing/2014/main" id="{70686F02-A6B5-448B-9940-D8F3E52B88E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 rot="5400000">
            <a:off x="10922999" y="-728609"/>
            <a:ext cx="18000" cy="2520000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marL="0" indent="0"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20" name="Logo on top">
            <a:extLst>
              <a:ext uri="{FF2B5EF4-FFF2-40B4-BE49-F238E27FC236}">
                <a16:creationId xmlns:a16="http://schemas.microsoft.com/office/drawing/2014/main" id="{3FD39135-7880-41E4-B06B-A8C7F1FC8675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0728000" y="6339600"/>
            <a:ext cx="1080000" cy="340069"/>
          </a:xfrm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595959"/>
          </a:solidFill>
        </p:spPr>
        <p:txBody>
          <a:bodyPr lIns="0" tIns="0" rIns="0" bIns="0"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55273A3B-39E6-4A70-B196-DD3516FD0C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4790072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Image coll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aphic 4">
            <a:extLst>
              <a:ext uri="{FF2B5EF4-FFF2-40B4-BE49-F238E27FC236}">
                <a16:creationId xmlns:a16="http://schemas.microsoft.com/office/drawing/2014/main" id="{A2D4C4CC-2C2B-4E4A-BABE-191099A7DF52}"/>
              </a:ext>
            </a:extLst>
          </p:cNvPr>
          <p:cNvGrpSpPr/>
          <p:nvPr/>
        </p:nvGrpSpPr>
        <p:grpSpPr>
          <a:xfrm>
            <a:off x="10752600" y="6339508"/>
            <a:ext cx="1075757" cy="333967"/>
            <a:chOff x="10752600" y="6339508"/>
            <a:chExt cx="1075757" cy="333967"/>
          </a:xfrm>
          <a:solidFill>
            <a:srgbClr val="B70D18"/>
          </a:solidFill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71D26526-0348-41C0-8F96-4FFE4213BD27}"/>
                </a:ext>
              </a:extLst>
            </p:cNvPr>
            <p:cNvSpPr/>
            <p:nvPr/>
          </p:nvSpPr>
          <p:spPr>
            <a:xfrm>
              <a:off x="10752600" y="6494402"/>
              <a:ext cx="217421" cy="174789"/>
            </a:xfrm>
            <a:custGeom>
              <a:avLst/>
              <a:gdLst>
                <a:gd name="connsiteX0" fmla="*/ 0 w 217421"/>
                <a:gd name="connsiteY0" fmla="*/ 0 h 174789"/>
                <a:gd name="connsiteX1" fmla="*/ 0 w 217421"/>
                <a:gd name="connsiteY1" fmla="*/ 174790 h 174789"/>
                <a:gd name="connsiteX2" fmla="*/ 52579 w 217421"/>
                <a:gd name="connsiteY2" fmla="*/ 174790 h 174789"/>
                <a:gd name="connsiteX3" fmla="*/ 59684 w 217421"/>
                <a:gd name="connsiteY3" fmla="*/ 69632 h 174789"/>
                <a:gd name="connsiteX4" fmla="*/ 164842 w 217421"/>
                <a:gd name="connsiteY4" fmla="*/ 174790 h 174789"/>
                <a:gd name="connsiteX5" fmla="*/ 217421 w 217421"/>
                <a:gd name="connsiteY5" fmla="*/ 174790 h 174789"/>
                <a:gd name="connsiteX6" fmla="*/ 217421 w 217421"/>
                <a:gd name="connsiteY6" fmla="*/ 0 h 174789"/>
                <a:gd name="connsiteX7" fmla="*/ 162000 w 217421"/>
                <a:gd name="connsiteY7" fmla="*/ 0 h 174789"/>
                <a:gd name="connsiteX8" fmla="*/ 156316 w 217421"/>
                <a:gd name="connsiteY8" fmla="*/ 92369 h 174789"/>
                <a:gd name="connsiteX9" fmla="*/ 66789 w 217421"/>
                <a:gd name="connsiteY9" fmla="*/ 0 h 174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7421" h="174789">
                  <a:moveTo>
                    <a:pt x="0" y="0"/>
                  </a:moveTo>
                  <a:lnTo>
                    <a:pt x="0" y="174790"/>
                  </a:lnTo>
                  <a:lnTo>
                    <a:pt x="52579" y="174790"/>
                  </a:lnTo>
                  <a:lnTo>
                    <a:pt x="59684" y="69632"/>
                  </a:lnTo>
                  <a:lnTo>
                    <a:pt x="164842" y="174790"/>
                  </a:lnTo>
                  <a:lnTo>
                    <a:pt x="217421" y="174790"/>
                  </a:lnTo>
                  <a:lnTo>
                    <a:pt x="217421" y="0"/>
                  </a:lnTo>
                  <a:lnTo>
                    <a:pt x="162000" y="0"/>
                  </a:lnTo>
                  <a:lnTo>
                    <a:pt x="156316" y="92369"/>
                  </a:lnTo>
                  <a:lnTo>
                    <a:pt x="66789" y="0"/>
                  </a:lnTo>
                  <a:close/>
                </a:path>
              </a:pathLst>
            </a:custGeom>
            <a:solidFill>
              <a:srgbClr val="B70D18"/>
            </a:solidFill>
            <a:ln w="1416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1806EF12-398C-4FA4-9EBB-F4BA09658974}"/>
                </a:ext>
              </a:extLst>
            </p:cNvPr>
            <p:cNvSpPr/>
            <p:nvPr/>
          </p:nvSpPr>
          <p:spPr>
            <a:xfrm>
              <a:off x="11021178" y="6494402"/>
              <a:ext cx="58263" cy="176210"/>
            </a:xfrm>
            <a:custGeom>
              <a:avLst/>
              <a:gdLst>
                <a:gd name="connsiteX0" fmla="*/ 0 w 58263"/>
                <a:gd name="connsiteY0" fmla="*/ 0 h 176210"/>
                <a:gd name="connsiteX1" fmla="*/ 58263 w 58263"/>
                <a:gd name="connsiteY1" fmla="*/ 0 h 176210"/>
                <a:gd name="connsiteX2" fmla="*/ 58263 w 58263"/>
                <a:gd name="connsiteY2" fmla="*/ 176211 h 176210"/>
                <a:gd name="connsiteX3" fmla="*/ 0 w 58263"/>
                <a:gd name="connsiteY3" fmla="*/ 176211 h 176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263" h="176210">
                  <a:moveTo>
                    <a:pt x="0" y="0"/>
                  </a:moveTo>
                  <a:lnTo>
                    <a:pt x="58263" y="0"/>
                  </a:lnTo>
                  <a:lnTo>
                    <a:pt x="58263" y="176211"/>
                  </a:lnTo>
                  <a:lnTo>
                    <a:pt x="0" y="176211"/>
                  </a:lnTo>
                  <a:close/>
                </a:path>
              </a:pathLst>
            </a:custGeom>
            <a:solidFill>
              <a:srgbClr val="B70D18"/>
            </a:solidFill>
            <a:ln w="1416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grpSp>
          <p:nvGrpSpPr>
            <p:cNvPr id="9" name="Graphic 4">
              <a:extLst>
                <a:ext uri="{FF2B5EF4-FFF2-40B4-BE49-F238E27FC236}">
                  <a16:creationId xmlns:a16="http://schemas.microsoft.com/office/drawing/2014/main" id="{A2D4C4CC-2C2B-4E4A-BABE-191099A7DF52}"/>
                </a:ext>
              </a:extLst>
            </p:cNvPr>
            <p:cNvGrpSpPr/>
            <p:nvPr/>
          </p:nvGrpSpPr>
          <p:grpSpPr>
            <a:xfrm>
              <a:off x="11130600" y="6339508"/>
              <a:ext cx="697757" cy="333967"/>
              <a:chOff x="11130600" y="6339508"/>
              <a:chExt cx="697757" cy="333967"/>
            </a:xfrm>
            <a:solidFill>
              <a:srgbClr val="B70D18"/>
            </a:solidFill>
          </p:grpSpPr>
          <p:sp>
            <p:nvSpPr>
              <p:cNvPr id="10" name="Freeform: Shape 9">
                <a:extLst>
                  <a:ext uri="{FF2B5EF4-FFF2-40B4-BE49-F238E27FC236}">
                    <a16:creationId xmlns:a16="http://schemas.microsoft.com/office/drawing/2014/main" id="{78693BFF-818B-4A5E-928F-B07A728B5490}"/>
                  </a:ext>
                </a:extLst>
              </p:cNvPr>
              <p:cNvSpPr/>
              <p:nvPr/>
            </p:nvSpPr>
            <p:spPr>
              <a:xfrm>
                <a:off x="11130600" y="6490139"/>
                <a:ext cx="200489" cy="180473"/>
              </a:xfrm>
              <a:custGeom>
                <a:avLst/>
                <a:gdLst>
                  <a:gd name="connsiteX0" fmla="*/ 200368 w 200489"/>
                  <a:gd name="connsiteY0" fmla="*/ 55421 h 180473"/>
                  <a:gd name="connsiteX1" fmla="*/ 108000 w 200489"/>
                  <a:gd name="connsiteY1" fmla="*/ 0 h 180473"/>
                  <a:gd name="connsiteX2" fmla="*/ 0 w 200489"/>
                  <a:gd name="connsiteY2" fmla="*/ 2842 h 180473"/>
                  <a:gd name="connsiteX3" fmla="*/ 0 w 200489"/>
                  <a:gd name="connsiteY3" fmla="*/ 179053 h 180473"/>
                  <a:gd name="connsiteX4" fmla="*/ 52579 w 200489"/>
                  <a:gd name="connsiteY4" fmla="*/ 179053 h 180473"/>
                  <a:gd name="connsiteX5" fmla="*/ 61105 w 200489"/>
                  <a:gd name="connsiteY5" fmla="*/ 38368 h 180473"/>
                  <a:gd name="connsiteX6" fmla="*/ 96632 w 200489"/>
                  <a:gd name="connsiteY6" fmla="*/ 36947 h 180473"/>
                  <a:gd name="connsiteX7" fmla="*/ 136421 w 200489"/>
                  <a:gd name="connsiteY7" fmla="*/ 59684 h 180473"/>
                  <a:gd name="connsiteX8" fmla="*/ 81000 w 200489"/>
                  <a:gd name="connsiteY8" fmla="*/ 90947 h 180473"/>
                  <a:gd name="connsiteX9" fmla="*/ 81000 w 200489"/>
                  <a:gd name="connsiteY9" fmla="*/ 119369 h 180473"/>
                  <a:gd name="connsiteX10" fmla="*/ 137842 w 200489"/>
                  <a:gd name="connsiteY10" fmla="*/ 180474 h 180473"/>
                  <a:gd name="connsiteX11" fmla="*/ 198947 w 200489"/>
                  <a:gd name="connsiteY11" fmla="*/ 180474 h 180473"/>
                  <a:gd name="connsiteX12" fmla="*/ 153474 w 200489"/>
                  <a:gd name="connsiteY12" fmla="*/ 116526 h 180473"/>
                  <a:gd name="connsiteX13" fmla="*/ 200368 w 200489"/>
                  <a:gd name="connsiteY13" fmla="*/ 55421 h 1804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00489" h="180473">
                    <a:moveTo>
                      <a:pt x="200368" y="55421"/>
                    </a:moveTo>
                    <a:cubicBezTo>
                      <a:pt x="197526" y="9947"/>
                      <a:pt x="147789" y="1421"/>
                      <a:pt x="108000" y="0"/>
                    </a:cubicBezTo>
                    <a:cubicBezTo>
                      <a:pt x="75316" y="0"/>
                      <a:pt x="0" y="2842"/>
                      <a:pt x="0" y="2842"/>
                    </a:cubicBezTo>
                    <a:lnTo>
                      <a:pt x="0" y="179053"/>
                    </a:lnTo>
                    <a:lnTo>
                      <a:pt x="52579" y="179053"/>
                    </a:lnTo>
                    <a:lnTo>
                      <a:pt x="61105" y="38368"/>
                    </a:lnTo>
                    <a:cubicBezTo>
                      <a:pt x="61105" y="38368"/>
                      <a:pt x="82421" y="36947"/>
                      <a:pt x="96632" y="36947"/>
                    </a:cubicBezTo>
                    <a:cubicBezTo>
                      <a:pt x="119368" y="36947"/>
                      <a:pt x="135000" y="45474"/>
                      <a:pt x="136421" y="59684"/>
                    </a:cubicBezTo>
                    <a:cubicBezTo>
                      <a:pt x="137842" y="73895"/>
                      <a:pt x="132158" y="90947"/>
                      <a:pt x="81000" y="90947"/>
                    </a:cubicBezTo>
                    <a:lnTo>
                      <a:pt x="81000" y="119369"/>
                    </a:lnTo>
                    <a:lnTo>
                      <a:pt x="137842" y="180474"/>
                    </a:lnTo>
                    <a:lnTo>
                      <a:pt x="198947" y="180474"/>
                    </a:lnTo>
                    <a:lnTo>
                      <a:pt x="153474" y="116526"/>
                    </a:lnTo>
                    <a:cubicBezTo>
                      <a:pt x="154895" y="115105"/>
                      <a:pt x="203211" y="102316"/>
                      <a:pt x="200368" y="55421"/>
                    </a:cubicBezTo>
                  </a:path>
                </a:pathLst>
              </a:custGeom>
              <a:solidFill>
                <a:srgbClr val="B70D18"/>
              </a:solidFill>
              <a:ln w="141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1" name="Freeform: Shape 10">
                <a:extLst>
                  <a:ext uri="{FF2B5EF4-FFF2-40B4-BE49-F238E27FC236}">
                    <a16:creationId xmlns:a16="http://schemas.microsoft.com/office/drawing/2014/main" id="{1B46F5E6-A5F0-4105-B4BA-6AEC5163ACC5}"/>
                  </a:ext>
                </a:extLst>
              </p:cNvPr>
              <p:cNvSpPr/>
              <p:nvPr/>
            </p:nvSpPr>
            <p:spPr>
              <a:xfrm>
                <a:off x="11357968" y="6471666"/>
                <a:ext cx="261473" cy="197526"/>
              </a:xfrm>
              <a:custGeom>
                <a:avLst/>
                <a:gdLst>
                  <a:gd name="connsiteX0" fmla="*/ 176211 w 261473"/>
                  <a:gd name="connsiteY0" fmla="*/ 22737 h 197526"/>
                  <a:gd name="connsiteX1" fmla="*/ 89526 w 261473"/>
                  <a:gd name="connsiteY1" fmla="*/ 22737 h 197526"/>
                  <a:gd name="connsiteX2" fmla="*/ 52579 w 261473"/>
                  <a:gd name="connsiteY2" fmla="*/ 92369 h 197526"/>
                  <a:gd name="connsiteX3" fmla="*/ 1421 w 261473"/>
                  <a:gd name="connsiteY3" fmla="*/ 0 h 197526"/>
                  <a:gd name="connsiteX4" fmla="*/ 0 w 261473"/>
                  <a:gd name="connsiteY4" fmla="*/ 0 h 197526"/>
                  <a:gd name="connsiteX5" fmla="*/ 0 w 261473"/>
                  <a:gd name="connsiteY5" fmla="*/ 75316 h 197526"/>
                  <a:gd name="connsiteX6" fmla="*/ 32684 w 261473"/>
                  <a:gd name="connsiteY6" fmla="*/ 135000 h 197526"/>
                  <a:gd name="connsiteX7" fmla="*/ 2842 w 261473"/>
                  <a:gd name="connsiteY7" fmla="*/ 197527 h 197526"/>
                  <a:gd name="connsiteX8" fmla="*/ 59684 w 261473"/>
                  <a:gd name="connsiteY8" fmla="*/ 197527 h 197526"/>
                  <a:gd name="connsiteX9" fmla="*/ 78158 w 261473"/>
                  <a:gd name="connsiteY9" fmla="*/ 163421 h 197526"/>
                  <a:gd name="connsiteX10" fmla="*/ 78158 w 261473"/>
                  <a:gd name="connsiteY10" fmla="*/ 163421 h 197526"/>
                  <a:gd name="connsiteX11" fmla="*/ 133579 w 261473"/>
                  <a:gd name="connsiteY11" fmla="*/ 173369 h 197526"/>
                  <a:gd name="connsiteX12" fmla="*/ 133579 w 261473"/>
                  <a:gd name="connsiteY12" fmla="*/ 123632 h 197526"/>
                  <a:gd name="connsiteX13" fmla="*/ 102316 w 261473"/>
                  <a:gd name="connsiteY13" fmla="*/ 117948 h 197526"/>
                  <a:gd name="connsiteX14" fmla="*/ 130737 w 261473"/>
                  <a:gd name="connsiteY14" fmla="*/ 66790 h 197526"/>
                  <a:gd name="connsiteX15" fmla="*/ 204632 w 261473"/>
                  <a:gd name="connsiteY15" fmla="*/ 197527 h 197526"/>
                  <a:gd name="connsiteX16" fmla="*/ 261474 w 261473"/>
                  <a:gd name="connsiteY16" fmla="*/ 197527 h 197526"/>
                  <a:gd name="connsiteX17" fmla="*/ 217421 w 261473"/>
                  <a:gd name="connsiteY17" fmla="*/ 105158 h 197526"/>
                  <a:gd name="connsiteX18" fmla="*/ 176211 w 261473"/>
                  <a:gd name="connsiteY18" fmla="*/ 22737 h 1975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61473" h="197526">
                    <a:moveTo>
                      <a:pt x="176211" y="22737"/>
                    </a:moveTo>
                    <a:lnTo>
                      <a:pt x="89526" y="22737"/>
                    </a:lnTo>
                    <a:cubicBezTo>
                      <a:pt x="89526" y="22737"/>
                      <a:pt x="81000" y="35526"/>
                      <a:pt x="52579" y="92369"/>
                    </a:cubicBezTo>
                    <a:cubicBezTo>
                      <a:pt x="14211" y="61105"/>
                      <a:pt x="4263" y="19895"/>
                      <a:pt x="1421" y="0"/>
                    </a:cubicBezTo>
                    <a:lnTo>
                      <a:pt x="0" y="0"/>
                    </a:lnTo>
                    <a:lnTo>
                      <a:pt x="0" y="75316"/>
                    </a:lnTo>
                    <a:cubicBezTo>
                      <a:pt x="0" y="75316"/>
                      <a:pt x="5684" y="108000"/>
                      <a:pt x="32684" y="135000"/>
                    </a:cubicBezTo>
                    <a:cubicBezTo>
                      <a:pt x="7105" y="187579"/>
                      <a:pt x="2842" y="197527"/>
                      <a:pt x="2842" y="197527"/>
                    </a:cubicBezTo>
                    <a:lnTo>
                      <a:pt x="59684" y="197527"/>
                    </a:lnTo>
                    <a:lnTo>
                      <a:pt x="78158" y="163421"/>
                    </a:lnTo>
                    <a:cubicBezTo>
                      <a:pt x="78158" y="163421"/>
                      <a:pt x="78158" y="163421"/>
                      <a:pt x="78158" y="163421"/>
                    </a:cubicBezTo>
                    <a:cubicBezTo>
                      <a:pt x="106579" y="173369"/>
                      <a:pt x="133579" y="173369"/>
                      <a:pt x="133579" y="173369"/>
                    </a:cubicBezTo>
                    <a:lnTo>
                      <a:pt x="133579" y="123632"/>
                    </a:lnTo>
                    <a:cubicBezTo>
                      <a:pt x="133579" y="123632"/>
                      <a:pt x="120789" y="123632"/>
                      <a:pt x="102316" y="117948"/>
                    </a:cubicBezTo>
                    <a:lnTo>
                      <a:pt x="130737" y="66790"/>
                    </a:lnTo>
                    <a:lnTo>
                      <a:pt x="204632" y="197527"/>
                    </a:lnTo>
                    <a:lnTo>
                      <a:pt x="261474" y="197527"/>
                    </a:lnTo>
                    <a:cubicBezTo>
                      <a:pt x="261474" y="197527"/>
                      <a:pt x="254368" y="180474"/>
                      <a:pt x="217421" y="105158"/>
                    </a:cubicBezTo>
                    <a:cubicBezTo>
                      <a:pt x="184737" y="35526"/>
                      <a:pt x="176211" y="22737"/>
                      <a:pt x="176211" y="22737"/>
                    </a:cubicBezTo>
                  </a:path>
                </a:pathLst>
              </a:custGeom>
              <a:solidFill>
                <a:srgbClr val="B70D18"/>
              </a:solidFill>
              <a:ln w="141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CD2B355B-A69B-4385-9164-C01A9C7BD298}"/>
                  </a:ext>
                </a:extLst>
              </p:cNvPr>
              <p:cNvSpPr/>
              <p:nvPr/>
            </p:nvSpPr>
            <p:spPr>
              <a:xfrm>
                <a:off x="11636494" y="6485648"/>
                <a:ext cx="191863" cy="187826"/>
              </a:xfrm>
              <a:custGeom>
                <a:avLst/>
                <a:gdLst>
                  <a:gd name="connsiteX0" fmla="*/ 95211 w 191863"/>
                  <a:gd name="connsiteY0" fmla="*/ 69860 h 187826"/>
                  <a:gd name="connsiteX1" fmla="*/ 66789 w 191863"/>
                  <a:gd name="connsiteY1" fmla="*/ 55649 h 187826"/>
                  <a:gd name="connsiteX2" fmla="*/ 110842 w 191863"/>
                  <a:gd name="connsiteY2" fmla="*/ 40018 h 187826"/>
                  <a:gd name="connsiteX3" fmla="*/ 180474 w 191863"/>
                  <a:gd name="connsiteY3" fmla="*/ 45702 h 187826"/>
                  <a:gd name="connsiteX4" fmla="*/ 180474 w 191863"/>
                  <a:gd name="connsiteY4" fmla="*/ 4491 h 187826"/>
                  <a:gd name="connsiteX5" fmla="*/ 90947 w 191863"/>
                  <a:gd name="connsiteY5" fmla="*/ 228 h 187826"/>
                  <a:gd name="connsiteX6" fmla="*/ 0 w 191863"/>
                  <a:gd name="connsiteY6" fmla="*/ 59912 h 187826"/>
                  <a:gd name="connsiteX7" fmla="*/ 105158 w 191863"/>
                  <a:gd name="connsiteY7" fmla="*/ 119597 h 187826"/>
                  <a:gd name="connsiteX8" fmla="*/ 129316 w 191863"/>
                  <a:gd name="connsiteY8" fmla="*/ 130965 h 187826"/>
                  <a:gd name="connsiteX9" fmla="*/ 73895 w 191863"/>
                  <a:gd name="connsiteY9" fmla="*/ 146597 h 187826"/>
                  <a:gd name="connsiteX10" fmla="*/ 7105 w 191863"/>
                  <a:gd name="connsiteY10" fmla="*/ 138070 h 187826"/>
                  <a:gd name="connsiteX11" fmla="*/ 7105 w 191863"/>
                  <a:gd name="connsiteY11" fmla="*/ 182123 h 187826"/>
                  <a:gd name="connsiteX12" fmla="*/ 89526 w 191863"/>
                  <a:gd name="connsiteY12" fmla="*/ 187807 h 187826"/>
                  <a:gd name="connsiteX13" fmla="*/ 191842 w 191863"/>
                  <a:gd name="connsiteY13" fmla="*/ 128123 h 187826"/>
                  <a:gd name="connsiteX14" fmla="*/ 95211 w 191863"/>
                  <a:gd name="connsiteY14" fmla="*/ 69860 h 1878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91863" h="187826">
                    <a:moveTo>
                      <a:pt x="95211" y="69860"/>
                    </a:moveTo>
                    <a:cubicBezTo>
                      <a:pt x="76737" y="68439"/>
                      <a:pt x="66789" y="64176"/>
                      <a:pt x="66789" y="55649"/>
                    </a:cubicBezTo>
                    <a:cubicBezTo>
                      <a:pt x="66789" y="44281"/>
                      <a:pt x="81000" y="40018"/>
                      <a:pt x="110842" y="40018"/>
                    </a:cubicBezTo>
                    <a:cubicBezTo>
                      <a:pt x="140684" y="40018"/>
                      <a:pt x="180474" y="45702"/>
                      <a:pt x="180474" y="45702"/>
                    </a:cubicBezTo>
                    <a:lnTo>
                      <a:pt x="180474" y="4491"/>
                    </a:lnTo>
                    <a:cubicBezTo>
                      <a:pt x="180474" y="4491"/>
                      <a:pt x="135000" y="-1193"/>
                      <a:pt x="90947" y="228"/>
                    </a:cubicBezTo>
                    <a:cubicBezTo>
                      <a:pt x="75316" y="228"/>
                      <a:pt x="0" y="228"/>
                      <a:pt x="0" y="59912"/>
                    </a:cubicBezTo>
                    <a:cubicBezTo>
                      <a:pt x="0" y="116755"/>
                      <a:pt x="73895" y="118176"/>
                      <a:pt x="105158" y="119597"/>
                    </a:cubicBezTo>
                    <a:cubicBezTo>
                      <a:pt x="116526" y="119597"/>
                      <a:pt x="129316" y="122439"/>
                      <a:pt x="129316" y="130965"/>
                    </a:cubicBezTo>
                    <a:cubicBezTo>
                      <a:pt x="130737" y="143755"/>
                      <a:pt x="108000" y="146597"/>
                      <a:pt x="73895" y="146597"/>
                    </a:cubicBezTo>
                    <a:cubicBezTo>
                      <a:pt x="39789" y="146597"/>
                      <a:pt x="7105" y="138070"/>
                      <a:pt x="7105" y="138070"/>
                    </a:cubicBezTo>
                    <a:lnTo>
                      <a:pt x="7105" y="182123"/>
                    </a:lnTo>
                    <a:cubicBezTo>
                      <a:pt x="7105" y="182123"/>
                      <a:pt x="54000" y="187807"/>
                      <a:pt x="89526" y="187807"/>
                    </a:cubicBezTo>
                    <a:cubicBezTo>
                      <a:pt x="105158" y="187807"/>
                      <a:pt x="193263" y="190649"/>
                      <a:pt x="191842" y="128123"/>
                    </a:cubicBezTo>
                    <a:cubicBezTo>
                      <a:pt x="193263" y="64176"/>
                      <a:pt x="122211" y="71281"/>
                      <a:pt x="95211" y="69860"/>
                    </a:cubicBezTo>
                  </a:path>
                </a:pathLst>
              </a:custGeom>
              <a:solidFill>
                <a:srgbClr val="B70D18"/>
              </a:solidFill>
              <a:ln w="141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0221DD12-4B4F-4911-85F2-7657655003F6}"/>
                  </a:ext>
                </a:extLst>
              </p:cNvPr>
              <p:cNvSpPr/>
              <p:nvPr/>
            </p:nvSpPr>
            <p:spPr>
              <a:xfrm>
                <a:off x="11392023" y="6339508"/>
                <a:ext cx="100945" cy="137842"/>
              </a:xfrm>
              <a:custGeom>
                <a:avLst/>
                <a:gdLst>
                  <a:gd name="connsiteX0" fmla="*/ 4314 w 100945"/>
                  <a:gd name="connsiteY0" fmla="*/ 137842 h 137842"/>
                  <a:gd name="connsiteX1" fmla="*/ 100945 w 100945"/>
                  <a:gd name="connsiteY1" fmla="*/ 55421 h 137842"/>
                  <a:gd name="connsiteX2" fmla="*/ 100945 w 100945"/>
                  <a:gd name="connsiteY2" fmla="*/ 0 h 137842"/>
                  <a:gd name="connsiteX3" fmla="*/ 51 w 100945"/>
                  <a:gd name="connsiteY3" fmla="*/ 109421 h 137842"/>
                  <a:gd name="connsiteX4" fmla="*/ 4314 w 100945"/>
                  <a:gd name="connsiteY4" fmla="*/ 137842 h 137842"/>
                  <a:gd name="connsiteX5" fmla="*/ 4314 w 100945"/>
                  <a:gd name="connsiteY5" fmla="*/ 137842 h 137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0945" h="137842">
                    <a:moveTo>
                      <a:pt x="4314" y="137842"/>
                    </a:moveTo>
                    <a:cubicBezTo>
                      <a:pt x="11419" y="99474"/>
                      <a:pt x="49787" y="56842"/>
                      <a:pt x="100945" y="55421"/>
                    </a:cubicBezTo>
                    <a:lnTo>
                      <a:pt x="100945" y="0"/>
                    </a:lnTo>
                    <a:cubicBezTo>
                      <a:pt x="27051" y="8526"/>
                      <a:pt x="-1370" y="72474"/>
                      <a:pt x="51" y="109421"/>
                    </a:cubicBezTo>
                    <a:cubicBezTo>
                      <a:pt x="51" y="119369"/>
                      <a:pt x="1472" y="129316"/>
                      <a:pt x="4314" y="137842"/>
                    </a:cubicBezTo>
                    <a:lnTo>
                      <a:pt x="4314" y="137842"/>
                    </a:lnTo>
                    <a:close/>
                  </a:path>
                </a:pathLst>
              </a:custGeom>
              <a:solidFill>
                <a:srgbClr val="B70D18"/>
              </a:solidFill>
              <a:ln w="1416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</p:grpSp>
      </p:grp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8EAF4C72-F900-4059-9C84-2813E8024B7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17" name="Picture Placeholder 14">
            <a:extLst>
              <a:ext uri="{FF2B5EF4-FFF2-40B4-BE49-F238E27FC236}">
                <a16:creationId xmlns:a16="http://schemas.microsoft.com/office/drawing/2014/main" id="{42F63370-8532-4D34-9446-E54D6CC8C191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097463" y="0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18" name="Picture Placeholder 14">
            <a:extLst>
              <a:ext uri="{FF2B5EF4-FFF2-40B4-BE49-F238E27FC236}">
                <a16:creationId xmlns:a16="http://schemas.microsoft.com/office/drawing/2014/main" id="{171A715E-F61B-4612-B801-1A94422B829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292389" y="0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19" name="Picture Placeholder 14">
            <a:extLst>
              <a:ext uri="{FF2B5EF4-FFF2-40B4-BE49-F238E27FC236}">
                <a16:creationId xmlns:a16="http://schemas.microsoft.com/office/drawing/2014/main" id="{EB3AB690-E499-4D45-A7C5-BDF760163EA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94926" y="0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0" name="Picture Placeholder 14">
            <a:extLst>
              <a:ext uri="{FF2B5EF4-FFF2-40B4-BE49-F238E27FC236}">
                <a16:creationId xmlns:a16="http://schemas.microsoft.com/office/drawing/2014/main" id="{0DC306A9-D475-4FEB-A51C-B49BDF16759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2120513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1" name="Picture Placeholder 14">
            <a:extLst>
              <a:ext uri="{FF2B5EF4-FFF2-40B4-BE49-F238E27FC236}">
                <a16:creationId xmlns:a16="http://schemas.microsoft.com/office/drawing/2014/main" id="{B6329C3A-A9AF-419A-B247-3089AE0F22C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097463" y="2120513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2" name="Picture Placeholder 14">
            <a:extLst>
              <a:ext uri="{FF2B5EF4-FFF2-40B4-BE49-F238E27FC236}">
                <a16:creationId xmlns:a16="http://schemas.microsoft.com/office/drawing/2014/main" id="{F11B47FB-3100-49F0-8967-F6148B9AA7B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292389" y="2120513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3" name="Picture Placeholder 14">
            <a:extLst>
              <a:ext uri="{FF2B5EF4-FFF2-40B4-BE49-F238E27FC236}">
                <a16:creationId xmlns:a16="http://schemas.microsoft.com/office/drawing/2014/main" id="{E4CD6A19-31A7-4B97-967B-C1BACF39AE0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194926" y="2120513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4" name="Picture Placeholder 14">
            <a:extLst>
              <a:ext uri="{FF2B5EF4-FFF2-40B4-BE49-F238E27FC236}">
                <a16:creationId xmlns:a16="http://schemas.microsoft.com/office/drawing/2014/main" id="{FBF60AD9-F665-408B-A07D-3DA9848947EC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4241025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5" name="Picture Placeholder 14">
            <a:extLst>
              <a:ext uri="{FF2B5EF4-FFF2-40B4-BE49-F238E27FC236}">
                <a16:creationId xmlns:a16="http://schemas.microsoft.com/office/drawing/2014/main" id="{DEA30BE2-219A-43AF-BF54-8195F9E3A87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097463" y="4241025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6" name="Picture Placeholder 14">
            <a:extLst>
              <a:ext uri="{FF2B5EF4-FFF2-40B4-BE49-F238E27FC236}">
                <a16:creationId xmlns:a16="http://schemas.microsoft.com/office/drawing/2014/main" id="{85B17022-B96A-4BA4-B52D-1737627682A5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9292389" y="4241025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7" name="Picture Placeholder 14">
            <a:extLst>
              <a:ext uri="{FF2B5EF4-FFF2-40B4-BE49-F238E27FC236}">
                <a16:creationId xmlns:a16="http://schemas.microsoft.com/office/drawing/2014/main" id="{3D74F5FE-7F34-46A1-8FEF-A8ADA2AC5B78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194926" y="4241025"/>
            <a:ext cx="2899611" cy="19228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da-DK" sz="1600" dirty="0" err="1"/>
              <a:t>Click</a:t>
            </a:r>
            <a:r>
              <a:rPr lang="da-DK" sz="1600" dirty="0"/>
              <a:t> to </a:t>
            </a:r>
            <a:r>
              <a:rPr lang="da-DK" sz="1600" dirty="0" err="1"/>
              <a:t>insert</a:t>
            </a:r>
            <a:r>
              <a:rPr lang="da-DK" sz="1600" dirty="0"/>
              <a:t> image</a:t>
            </a:r>
          </a:p>
          <a:p>
            <a:endParaRPr lang="da-DK" sz="1600" dirty="0"/>
          </a:p>
          <a:p>
            <a:endParaRPr lang="da-DK" dirty="0"/>
          </a:p>
        </p:txBody>
      </p: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2178E2D9-12FA-44EB-9399-062F9145CF1E}"/>
              </a:ext>
            </a:extLst>
          </p:cNvPr>
          <p:cNvSpPr txBox="1">
            <a:spLocks/>
          </p:cNvSpPr>
          <p:nvPr/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97563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pos="1825" userDrawn="1">
          <p15:clr>
            <a:srgbClr val="A4A3A4"/>
          </p15:clr>
        </p15:guide>
        <p15:guide id="12" pos="1950" userDrawn="1">
          <p15:clr>
            <a:srgbClr val="A4A3A4"/>
          </p15:clr>
        </p15:guide>
        <p15:guide id="13" pos="3775" userDrawn="1">
          <p15:clr>
            <a:srgbClr val="A4A3A4"/>
          </p15:clr>
        </p15:guide>
        <p15:guide id="14" pos="3902" userDrawn="1">
          <p15:clr>
            <a:srgbClr val="A4A3A4"/>
          </p15:clr>
        </p15:guide>
        <p15:guide id="15" pos="5728" userDrawn="1">
          <p15:clr>
            <a:srgbClr val="A4A3A4"/>
          </p15:clr>
        </p15:guide>
        <p15:guide id="16" pos="5852" userDrawn="1">
          <p15:clr>
            <a:srgbClr val="A4A3A4"/>
          </p15:clr>
        </p15:guide>
        <p15:guide id="17" orient="horz" pos="1335" userDrawn="1">
          <p15:clr>
            <a:srgbClr val="A4A3A4"/>
          </p15:clr>
        </p15:guide>
        <p15:guide id="18" orient="horz" pos="1210" userDrawn="1">
          <p15:clr>
            <a:srgbClr val="A4A3A4"/>
          </p15:clr>
        </p15:guide>
        <p15:guide id="19" orient="horz" pos="2546" userDrawn="1">
          <p15:clr>
            <a:srgbClr val="A4A3A4"/>
          </p15:clr>
        </p15:guide>
        <p15:guide id="20" orient="horz" pos="2671" userDrawn="1">
          <p15:clr>
            <a:srgbClr val="A4A3A4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ext and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097A650-4712-4097-931A-5EE2BCDC4014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4819650" y="0"/>
            <a:ext cx="7372350" cy="6858000"/>
          </a:xfrm>
          <a:prstGeom prst="rect">
            <a:avLst/>
          </a:prstGeom>
          <a:solidFill>
            <a:schemeClr val="accent1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 dirty="0"/>
              <a:t>Click and insert image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BFEBFBEB-1222-4E81-B4BC-C71DBAB2DD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60000"/>
            <a:ext cx="4305600" cy="1636918"/>
          </a:xfrm>
          <a:prstGeom prst="rect">
            <a:avLst/>
          </a:prstGeom>
        </p:spPr>
        <p:txBody>
          <a:bodyPr lIns="72000" tIns="36000" rIns="72000" bIns="36000" anchor="t"/>
          <a:lstStyle>
            <a:lvl1pPr>
              <a:defRPr sz="4000"/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20E74145-CF5A-4071-A2BE-2C6FA63A35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0000" y="2380541"/>
            <a:ext cx="4305600" cy="3779330"/>
          </a:xfrm>
        </p:spPr>
        <p:txBody>
          <a:bodyPr lIns="72000" tIns="36000" rIns="72000" bIns="3600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6078D9B-5AAD-45B7-BF17-A69402EF4FD5}"/>
              </a:ext>
            </a:extLst>
          </p:cNvPr>
          <p:cNvCxnSpPr/>
          <p:nvPr/>
        </p:nvCxnSpPr>
        <p:spPr>
          <a:xfrm flipH="1">
            <a:off x="360000" y="2164223"/>
            <a:ext cx="2520000" cy="0"/>
          </a:xfrm>
          <a:prstGeom prst="line">
            <a:avLst/>
          </a:prstGeom>
          <a:ln w="920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ogo on top">
            <a:extLst>
              <a:ext uri="{FF2B5EF4-FFF2-40B4-BE49-F238E27FC236}">
                <a16:creationId xmlns:a16="http://schemas.microsoft.com/office/drawing/2014/main" id="{6DF414E4-381E-49EB-AE58-12043C54FDC6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0753200" y="6339600"/>
            <a:ext cx="1080000" cy="340069"/>
          </a:xfrm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FFFFFF"/>
          </a:solidFill>
        </p:spPr>
        <p:txBody>
          <a:bodyPr lIns="0" tIns="0" rIns="0" bIns="0"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54D9553C-B70F-4221-8C05-67C34C6F5F0A}"/>
              </a:ext>
            </a:extLst>
          </p:cNvPr>
          <p:cNvSpPr txBox="1">
            <a:spLocks/>
          </p:cNvSpPr>
          <p:nvPr/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1427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036" userDrawn="1">
          <p15:clr>
            <a:srgbClr val="A4A3A4"/>
          </p15:clr>
        </p15:guide>
        <p15:guide id="4" pos="2938" userDrawn="1">
          <p15:clr>
            <a:srgbClr val="A4A3A4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ext and map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6078D9B-5AAD-45B7-BF17-A69402EF4FD5}"/>
              </a:ext>
            </a:extLst>
          </p:cNvPr>
          <p:cNvCxnSpPr/>
          <p:nvPr/>
        </p:nvCxnSpPr>
        <p:spPr>
          <a:xfrm flipH="1">
            <a:off x="339304" y="2164223"/>
            <a:ext cx="2520000" cy="0"/>
          </a:xfrm>
          <a:prstGeom prst="line">
            <a:avLst/>
          </a:prstGeom>
          <a:ln w="920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1">
            <a:extLst>
              <a:ext uri="{FF2B5EF4-FFF2-40B4-BE49-F238E27FC236}">
                <a16:creationId xmlns:a16="http://schemas.microsoft.com/office/drawing/2014/main" id="{BFEBFBEB-1222-4E81-B4BC-C71DBAB2DD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360000"/>
            <a:ext cx="4305900" cy="1636918"/>
          </a:xfrm>
          <a:prstGeom prst="rect">
            <a:avLst/>
          </a:prstGeom>
        </p:spPr>
        <p:txBody>
          <a:bodyPr lIns="72000" tIns="36000" rIns="72000" bIns="36000" anchor="t"/>
          <a:lstStyle>
            <a:lvl1pPr>
              <a:defRPr sz="4000"/>
            </a:lvl1pPr>
          </a:lstStyle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1C01BBC1-6088-4A5C-BB43-18C3AD54883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0000" y="2380541"/>
            <a:ext cx="4305600" cy="3779330"/>
          </a:xfrm>
        </p:spPr>
        <p:txBody>
          <a:bodyPr lIns="72000" tIns="36000" rIns="72000" bIns="36000"/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F078E2B5-22BB-47BE-A4E4-FDDF70ABD65D}"/>
              </a:ext>
            </a:extLst>
          </p:cNvPr>
          <p:cNvSpPr txBox="1">
            <a:spLocks/>
          </p:cNvSpPr>
          <p:nvPr/>
        </p:nvSpPr>
        <p:spPr>
          <a:xfrm>
            <a:off x="10762637" y="6339507"/>
            <a:ext cx="1069963" cy="341053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D4A5F82C-F561-4E43-91A4-85B9CEEF7B0D}"/>
              </a:ext>
            </a:extLst>
          </p:cNvPr>
          <p:cNvSpPr txBox="1">
            <a:spLocks/>
          </p:cNvSpPr>
          <p:nvPr/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74075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38" userDrawn="1">
          <p15:clr>
            <a:srgbClr val="A4A3A4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wo content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3D4BE65-C530-4290-986A-FB215B0F933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59400" y="1314448"/>
            <a:ext cx="5540398" cy="619713"/>
          </a:xfrm>
          <a:prstGeom prst="rect">
            <a:avLst/>
          </a:prstGeom>
        </p:spPr>
        <p:txBody>
          <a:bodyPr lIns="72000" tIns="36000" rIns="72000" bIns="36000" anchor="ctr">
            <a:noAutofit/>
          </a:bodyPr>
          <a:lstStyle>
            <a:lvl1pPr marL="0" indent="0">
              <a:buNone/>
              <a:defRPr sz="2200" b="1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5F22894F-B793-4F80-9F3B-C921E0A14A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60000" y="1954800"/>
            <a:ext cx="5540400" cy="4204800"/>
          </a:xfrm>
          <a:ln w="19050">
            <a:solidFill>
              <a:schemeClr val="accent6"/>
            </a:solidFill>
          </a:ln>
        </p:spPr>
        <p:txBody>
          <a:bodyPr lIns="72000" tIns="36000" rIns="72000" bIns="36000"/>
          <a:lstStyle>
            <a:lvl1pPr>
              <a:defRPr baseline="0"/>
            </a:lvl1pPr>
          </a:lstStyle>
          <a:p>
            <a:pPr lvl="0"/>
            <a:r>
              <a:rPr lang="en-US" noProof="0" dirty="0"/>
              <a:t>Click to edit text or add media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2FCF2E0-BB49-4491-94D2-B90F9291BCCD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92202" y="1314448"/>
            <a:ext cx="5540398" cy="619713"/>
          </a:xfrm>
          <a:prstGeom prst="rect">
            <a:avLst/>
          </a:prstGeom>
        </p:spPr>
        <p:txBody>
          <a:bodyPr lIns="72000" tIns="36000" rIns="72000" bIns="36000" anchor="ctr">
            <a:noAutofit/>
          </a:bodyPr>
          <a:lstStyle>
            <a:lvl1pPr marL="0" indent="0">
              <a:buNone/>
              <a:defRPr sz="2200" b="1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4F958320-7923-485F-A705-308A16EADBFD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92800" y="1954800"/>
            <a:ext cx="5540400" cy="4204800"/>
          </a:xfrm>
          <a:ln w="19050">
            <a:solidFill>
              <a:schemeClr val="accent6"/>
            </a:solidFill>
          </a:ln>
        </p:spPr>
        <p:txBody>
          <a:bodyPr lIns="72000" tIns="36000" rIns="72000" bIns="36000"/>
          <a:lstStyle>
            <a:lvl1pPr>
              <a:defRPr/>
            </a:lvl1pPr>
          </a:lstStyle>
          <a:p>
            <a:pPr lvl="0"/>
            <a:r>
              <a:rPr lang="en-US" noProof="0" dirty="0"/>
              <a:t>Click to edit text or add media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29EEDE1A-9C78-4568-A47E-47F47AA9649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52600" y="6339508"/>
            <a:ext cx="1080000" cy="341053"/>
          </a:xfrm>
          <a:prstGeom prst="rect">
            <a:avLst/>
          </a:prstGeom>
        </p:spPr>
      </p:pic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431EF4F5-27FF-4BC7-9411-638B999E1D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60001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rmAutofit/>
          </a:bodyPr>
          <a:lstStyle/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E4075232-5F4D-4FC9-86C6-5CB7CB93532A}"/>
              </a:ext>
            </a:extLst>
          </p:cNvPr>
          <p:cNvSpPr txBox="1">
            <a:spLocks/>
          </p:cNvSpPr>
          <p:nvPr/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800" smtClean="0"/>
              <a:pPr/>
              <a:t>‹#›</a:t>
            </a:fld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21266536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3963" userDrawn="1">
          <p15:clr>
            <a:srgbClr val="A4A3A4"/>
          </p15:clr>
        </p15:guide>
        <p15:guide id="5" pos="3716" userDrawn="1">
          <p15:clr>
            <a:srgbClr val="A4A3A4"/>
          </p15:clr>
        </p15:guide>
        <p15:guide id="6" orient="horz" pos="827" userDrawn="1">
          <p15:clr>
            <a:srgbClr val="A4A3A4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vider Quot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D3BAE68-619C-4E72-824F-F72BF1532871}"/>
              </a:ext>
            </a:extLst>
          </p:cNvPr>
          <p:cNvCxnSpPr/>
          <p:nvPr/>
        </p:nvCxnSpPr>
        <p:spPr>
          <a:xfrm flipH="1">
            <a:off x="2852101" y="4008391"/>
            <a:ext cx="2520000" cy="0"/>
          </a:xfrm>
          <a:prstGeom prst="line">
            <a:avLst/>
          </a:prstGeom>
          <a:ln w="920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8C2C21B-CD4C-49CB-B367-2437B48D32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42400" y="1234439"/>
            <a:ext cx="4531294" cy="2151497"/>
          </a:xfrm>
          <a:prstGeom prst="rect">
            <a:avLst/>
          </a:prstGeom>
        </p:spPr>
        <p:txBody>
          <a:bodyPr lIns="72000" tIns="36000" rIns="72000" bIns="36000">
            <a:noAutofit/>
          </a:bodyPr>
          <a:lstStyle>
            <a:lvl1pPr marL="0" indent="0">
              <a:buNone/>
              <a:defRPr i="1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i="1">
                <a:solidFill>
                  <a:schemeClr val="tx1"/>
                </a:solidFill>
                <a:latin typeface="+mn-lt"/>
              </a:defRPr>
            </a:lvl2pPr>
            <a:lvl3pPr marL="914400" indent="0">
              <a:buNone/>
              <a:defRPr i="1">
                <a:solidFill>
                  <a:schemeClr val="tx1"/>
                </a:solidFill>
                <a:latin typeface="+mn-lt"/>
              </a:defRPr>
            </a:lvl3pPr>
            <a:lvl4pPr marL="1371600" indent="0">
              <a:buNone/>
              <a:defRPr i="1">
                <a:solidFill>
                  <a:schemeClr val="tx1"/>
                </a:solidFill>
                <a:latin typeface="+mn-lt"/>
              </a:defRPr>
            </a:lvl4pPr>
            <a:lvl5pPr marL="1828800" indent="0">
              <a:buNone/>
              <a:defRPr i="1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“ Click to add quote..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D6B9DF4D-F2BC-4ED0-9111-08038ED8088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42400" y="3557015"/>
            <a:ext cx="4531294" cy="274312"/>
          </a:xfrm>
          <a:prstGeom prst="rect">
            <a:avLst/>
          </a:prstGeom>
        </p:spPr>
        <p:txBody>
          <a:bodyPr lIns="72000" tIns="36000" rIns="72000" bIns="36000">
            <a:noAutofit/>
          </a:bodyPr>
          <a:lstStyle>
            <a:lvl1pPr marL="0" indent="0" algn="r">
              <a:buNone/>
              <a:defRPr lang="da-DK" sz="1400" b="0" i="0" smtClean="0">
                <a:solidFill>
                  <a:schemeClr val="bg1"/>
                </a:solidFill>
                <a:effectLst/>
              </a:defRPr>
            </a:lvl1pPr>
            <a:lvl2pPr marL="457200" indent="0">
              <a:buNone/>
              <a:defRPr i="1">
                <a:solidFill>
                  <a:schemeClr val="tx1"/>
                </a:solidFill>
                <a:latin typeface="+mn-lt"/>
              </a:defRPr>
            </a:lvl2pPr>
            <a:lvl3pPr marL="914400" indent="0">
              <a:buNone/>
              <a:defRPr i="1">
                <a:solidFill>
                  <a:schemeClr val="tx1"/>
                </a:solidFill>
                <a:latin typeface="+mn-lt"/>
              </a:defRPr>
            </a:lvl3pPr>
            <a:lvl4pPr marL="1371600" indent="0">
              <a:buNone/>
              <a:defRPr i="1">
                <a:solidFill>
                  <a:schemeClr val="tx1"/>
                </a:solidFill>
                <a:latin typeface="+mn-lt"/>
              </a:defRPr>
            </a:lvl4pPr>
            <a:lvl5pPr marL="1828800" indent="0">
              <a:buNone/>
              <a:defRPr i="1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- Insert name of </a:t>
            </a:r>
            <a:r>
              <a:rPr lang="en-US" dirty="0" err="1"/>
              <a:t>quotee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9929B9F-11AA-41A9-8ABF-8BCDD8479B88}"/>
              </a:ext>
            </a:extLst>
          </p:cNvPr>
          <p:cNvCxnSpPr/>
          <p:nvPr/>
        </p:nvCxnSpPr>
        <p:spPr>
          <a:xfrm flipH="1">
            <a:off x="840806" y="1155954"/>
            <a:ext cx="2520000" cy="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526A2FA-6FEB-47DD-8D22-35F2EB968127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096000" y="1"/>
            <a:ext cx="6096000" cy="685799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Click to image or icon</a:t>
            </a:r>
          </a:p>
          <a:p>
            <a:pPr lvl="0"/>
            <a:r>
              <a:rPr lang="en-US" dirty="0"/>
              <a:t>													</a:t>
            </a:r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da-DK" dirty="0"/>
          </a:p>
        </p:txBody>
      </p:sp>
      <p:sp>
        <p:nvSpPr>
          <p:cNvPr id="12" name="Slide Number Placeholder 3">
            <a:extLst>
              <a:ext uri="{FF2B5EF4-FFF2-40B4-BE49-F238E27FC236}">
                <a16:creationId xmlns:a16="http://schemas.microsoft.com/office/drawing/2014/main" id="{B2B94D57-3FE2-4256-8FB4-1491CE5D1AC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28290" y="6375818"/>
            <a:ext cx="511868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813654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3839" userDrawn="1">
          <p15:clr>
            <a:srgbClr val="A4A3A4"/>
          </p15:clr>
        </p15:guide>
        <p15:guide id="5" pos="530" userDrawn="1">
          <p15:clr>
            <a:srgbClr val="A4A3A4"/>
          </p15:clr>
        </p15:guide>
        <p15:guide id="6" pos="3385" userDrawn="1">
          <p15:clr>
            <a:srgbClr val="A4A3A4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vider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524617FF-8440-4B4B-B5DC-B52456B510C0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" y="0"/>
            <a:ext cx="12192000" cy="6858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image or </a:t>
            </a:r>
            <a:r>
              <a:rPr lang="da-DK" dirty="0" err="1"/>
              <a:t>leave</a:t>
            </a:r>
            <a:r>
              <a:rPr lang="da-DK" dirty="0"/>
              <a:t> to </a:t>
            </a:r>
            <a:r>
              <a:rPr lang="da-DK" dirty="0" err="1"/>
              <a:t>preserve</a:t>
            </a:r>
            <a:r>
              <a:rPr lang="da-DK" dirty="0"/>
              <a:t> </a:t>
            </a:r>
            <a:r>
              <a:rPr lang="da-DK" dirty="0" err="1"/>
              <a:t>colored</a:t>
            </a:r>
            <a:r>
              <a:rPr lang="da-DK" dirty="0"/>
              <a:t> </a:t>
            </a:r>
            <a:r>
              <a:rPr lang="da-DK" dirty="0" err="1"/>
              <a:t>background</a:t>
            </a:r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820790" y="5277691"/>
            <a:ext cx="3459636" cy="45719"/>
          </a:xfrm>
          <a:custGeom>
            <a:avLst/>
            <a:gdLst>
              <a:gd name="connsiteX0" fmla="*/ 0 w 3591613"/>
              <a:gd name="connsiteY0" fmla="*/ 0 h 1357710"/>
              <a:gd name="connsiteX1" fmla="*/ 3591613 w 3591613"/>
              <a:gd name="connsiteY1" fmla="*/ 0 h 1357710"/>
              <a:gd name="connsiteX2" fmla="*/ 3591613 w 3591613"/>
              <a:gd name="connsiteY2" fmla="*/ 1357710 h 1357710"/>
              <a:gd name="connsiteX3" fmla="*/ 0 w 3591613"/>
              <a:gd name="connsiteY3" fmla="*/ 1357710 h 1357710"/>
              <a:gd name="connsiteX4" fmla="*/ 0 w 3591613"/>
              <a:gd name="connsiteY4" fmla="*/ 0 h 1357710"/>
              <a:gd name="connsiteX0" fmla="*/ 0 w 3591613"/>
              <a:gd name="connsiteY0" fmla="*/ 1357710 h 1357710"/>
              <a:gd name="connsiteX1" fmla="*/ 3591613 w 3591613"/>
              <a:gd name="connsiteY1" fmla="*/ 0 h 1357710"/>
              <a:gd name="connsiteX2" fmla="*/ 3591613 w 3591613"/>
              <a:gd name="connsiteY2" fmla="*/ 1357710 h 1357710"/>
              <a:gd name="connsiteX3" fmla="*/ 0 w 3591613"/>
              <a:gd name="connsiteY3" fmla="*/ 1357710 h 1357710"/>
              <a:gd name="connsiteX0" fmla="*/ 0 w 3591613"/>
              <a:gd name="connsiteY0" fmla="*/ 0 h 0"/>
              <a:gd name="connsiteX1" fmla="*/ 3591613 w 3591613"/>
              <a:gd name="connsiteY1" fmla="*/ 0 h 0"/>
              <a:gd name="connsiteX2" fmla="*/ 0 w 3591613"/>
              <a:gd name="connsiteY2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591613">
                <a:moveTo>
                  <a:pt x="0" y="0"/>
                </a:moveTo>
                <a:lnTo>
                  <a:pt x="3591613" y="0"/>
                </a:lnTo>
                <a:lnTo>
                  <a:pt x="0" y="0"/>
                </a:lnTo>
                <a:close/>
              </a:path>
            </a:pathLst>
          </a:custGeom>
          <a:noFill/>
          <a:ln>
            <a:solidFill>
              <a:schemeClr val="bg1"/>
            </a:solidFill>
          </a:ln>
          <a:effectLst/>
        </p:spPr>
        <p:txBody>
          <a:bodyPr tIns="0" bIns="396000" anchor="b" anchorCtr="0">
            <a:normAutofit/>
          </a:bodyPr>
          <a:lstStyle>
            <a:lvl1pPr algn="r">
              <a:defRPr sz="9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01</a:t>
            </a:r>
            <a:endParaRPr lang="en-GB" dirty="0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C0CE3EBF-845A-4679-AC79-706F41CBBB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53359" y="5351097"/>
            <a:ext cx="4791075" cy="808404"/>
          </a:xfrm>
          <a:prstGeom prst="rect">
            <a:avLst/>
          </a:prstGeom>
        </p:spPr>
        <p:txBody>
          <a:bodyPr lIns="72000" tIns="36000" rIns="72000" bIns="36000">
            <a:noAutofit/>
          </a:bodyPr>
          <a:lstStyle>
            <a:lvl1pPr marL="0" indent="0" algn="r">
              <a:buNone/>
              <a:defRPr>
                <a:solidFill>
                  <a:schemeClr val="bg1"/>
                </a:solidFill>
              </a:defRPr>
            </a:lvl1pPr>
            <a:lvl2pPr marL="457200" indent="0" algn="r">
              <a:buNone/>
              <a:defRPr>
                <a:solidFill>
                  <a:schemeClr val="tx1"/>
                </a:solidFill>
              </a:defRPr>
            </a:lvl2pPr>
            <a:lvl3pPr marL="914400" indent="0" algn="r">
              <a:buNone/>
              <a:defRPr>
                <a:solidFill>
                  <a:schemeClr val="tx1"/>
                </a:solidFill>
              </a:defRPr>
            </a:lvl3pPr>
            <a:lvl4pPr marL="1371600" indent="0" algn="r">
              <a:buNone/>
              <a:defRPr>
                <a:solidFill>
                  <a:schemeClr val="tx1"/>
                </a:solidFill>
              </a:defRPr>
            </a:lvl4pPr>
            <a:lvl5pPr marL="1828800" indent="0" algn="r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</a:t>
            </a:r>
            <a:r>
              <a:rPr lang="da-DK" dirty="0" err="1"/>
              <a:t>chapter</a:t>
            </a:r>
            <a:r>
              <a:rPr lang="da-DK" dirty="0"/>
              <a:t> </a:t>
            </a:r>
            <a:r>
              <a:rPr lang="da-DK" dirty="0" err="1"/>
              <a:t>text</a:t>
            </a:r>
            <a:r>
              <a:rPr lang="da-DK" dirty="0"/>
              <a:t> </a:t>
            </a:r>
          </a:p>
        </p:txBody>
      </p:sp>
      <p:sp>
        <p:nvSpPr>
          <p:cNvPr id="3" name="Date Placeholder 2" hidden="1"/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F510D58F-CFEA-4848-9016-8CF12C266B7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3200" y="1440000"/>
            <a:ext cx="6840000" cy="7114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90786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vider NIRAS SD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524617FF-8440-4B4B-B5DC-B52456B510C0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image or </a:t>
            </a:r>
            <a:r>
              <a:rPr lang="da-DK" dirty="0" err="1"/>
              <a:t>leave</a:t>
            </a:r>
            <a:r>
              <a:rPr lang="da-DK" dirty="0"/>
              <a:t> to </a:t>
            </a:r>
            <a:r>
              <a:rPr lang="da-DK" dirty="0" err="1"/>
              <a:t>preserve</a:t>
            </a:r>
            <a:r>
              <a:rPr lang="da-DK" dirty="0"/>
              <a:t> </a:t>
            </a:r>
            <a:r>
              <a:rPr lang="da-DK" dirty="0" err="1"/>
              <a:t>colored</a:t>
            </a:r>
            <a:r>
              <a:rPr lang="da-DK" dirty="0"/>
              <a:t> </a:t>
            </a:r>
            <a:r>
              <a:rPr lang="da-DK" dirty="0" err="1"/>
              <a:t>background</a:t>
            </a:r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820790" y="5277691"/>
            <a:ext cx="3459636" cy="45719"/>
          </a:xfrm>
          <a:custGeom>
            <a:avLst/>
            <a:gdLst>
              <a:gd name="connsiteX0" fmla="*/ 0 w 3591613"/>
              <a:gd name="connsiteY0" fmla="*/ 0 h 1357710"/>
              <a:gd name="connsiteX1" fmla="*/ 3591613 w 3591613"/>
              <a:gd name="connsiteY1" fmla="*/ 0 h 1357710"/>
              <a:gd name="connsiteX2" fmla="*/ 3591613 w 3591613"/>
              <a:gd name="connsiteY2" fmla="*/ 1357710 h 1357710"/>
              <a:gd name="connsiteX3" fmla="*/ 0 w 3591613"/>
              <a:gd name="connsiteY3" fmla="*/ 1357710 h 1357710"/>
              <a:gd name="connsiteX4" fmla="*/ 0 w 3591613"/>
              <a:gd name="connsiteY4" fmla="*/ 0 h 1357710"/>
              <a:gd name="connsiteX0" fmla="*/ 0 w 3591613"/>
              <a:gd name="connsiteY0" fmla="*/ 1357710 h 1357710"/>
              <a:gd name="connsiteX1" fmla="*/ 3591613 w 3591613"/>
              <a:gd name="connsiteY1" fmla="*/ 0 h 1357710"/>
              <a:gd name="connsiteX2" fmla="*/ 3591613 w 3591613"/>
              <a:gd name="connsiteY2" fmla="*/ 1357710 h 1357710"/>
              <a:gd name="connsiteX3" fmla="*/ 0 w 3591613"/>
              <a:gd name="connsiteY3" fmla="*/ 1357710 h 1357710"/>
              <a:gd name="connsiteX0" fmla="*/ 0 w 3591613"/>
              <a:gd name="connsiteY0" fmla="*/ 0 h 0"/>
              <a:gd name="connsiteX1" fmla="*/ 3591613 w 3591613"/>
              <a:gd name="connsiteY1" fmla="*/ 0 h 0"/>
              <a:gd name="connsiteX2" fmla="*/ 0 w 3591613"/>
              <a:gd name="connsiteY2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591613">
                <a:moveTo>
                  <a:pt x="0" y="0"/>
                </a:moveTo>
                <a:lnTo>
                  <a:pt x="3591613" y="0"/>
                </a:lnTo>
                <a:lnTo>
                  <a:pt x="0" y="0"/>
                </a:lnTo>
                <a:close/>
              </a:path>
            </a:pathLst>
          </a:custGeom>
          <a:noFill/>
          <a:ln>
            <a:solidFill>
              <a:schemeClr val="tx1"/>
            </a:solidFill>
          </a:ln>
          <a:effectLst/>
        </p:spPr>
        <p:txBody>
          <a:bodyPr tIns="0" bIns="396000" anchor="b" anchorCtr="0">
            <a:normAutofit/>
          </a:bodyPr>
          <a:lstStyle>
            <a:lvl1pPr algn="r">
              <a:defRPr sz="9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01</a:t>
            </a:r>
            <a:endParaRPr lang="en-GB" dirty="0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C0CE3EBF-845A-4679-AC79-706F41CBBB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53359" y="5351097"/>
            <a:ext cx="4791075" cy="808404"/>
          </a:xfrm>
          <a:prstGeom prst="rect">
            <a:avLst/>
          </a:prstGeom>
        </p:spPr>
        <p:txBody>
          <a:bodyPr lIns="72000" tIns="36000" rIns="72000" bIns="36000">
            <a:noAutofit/>
          </a:bodyPr>
          <a:lstStyle>
            <a:lvl1pPr marL="0" indent="0" algn="r">
              <a:buNone/>
              <a:defRPr>
                <a:solidFill>
                  <a:schemeClr val="tx1"/>
                </a:solidFill>
              </a:defRPr>
            </a:lvl1pPr>
            <a:lvl2pPr marL="457200" indent="0" algn="r">
              <a:buNone/>
              <a:defRPr>
                <a:solidFill>
                  <a:schemeClr val="tx1"/>
                </a:solidFill>
              </a:defRPr>
            </a:lvl2pPr>
            <a:lvl3pPr marL="914400" indent="0" algn="r">
              <a:buNone/>
              <a:defRPr>
                <a:solidFill>
                  <a:schemeClr val="tx1"/>
                </a:solidFill>
              </a:defRPr>
            </a:lvl3pPr>
            <a:lvl4pPr marL="1371600" indent="0" algn="r">
              <a:buNone/>
              <a:defRPr>
                <a:solidFill>
                  <a:schemeClr val="tx1"/>
                </a:solidFill>
              </a:defRPr>
            </a:lvl4pPr>
            <a:lvl5pPr marL="1828800" indent="0" algn="r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</a:t>
            </a:r>
            <a:r>
              <a:rPr lang="da-DK" dirty="0" err="1"/>
              <a:t>chapter</a:t>
            </a:r>
            <a:r>
              <a:rPr lang="da-DK" dirty="0"/>
              <a:t> </a:t>
            </a:r>
            <a:r>
              <a:rPr lang="da-DK" dirty="0" err="1"/>
              <a:t>text</a:t>
            </a:r>
            <a:r>
              <a:rPr lang="da-DK" dirty="0"/>
              <a:t> </a:t>
            </a:r>
          </a:p>
        </p:txBody>
      </p:sp>
      <p:sp>
        <p:nvSpPr>
          <p:cNvPr id="3" name="Date Placeholder 2" hidden="1"/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70F6FCC7-0B3D-49C7-8ADF-C39654C9B29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2550" y="1440000"/>
            <a:ext cx="6840000" cy="7114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97028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Blank an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0BF64466-F367-40DF-8BAC-6FB3B331E88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719421ED-E398-409B-84BF-1D7C32EC7EA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52600" y="6339508"/>
            <a:ext cx="1080000" cy="341053"/>
          </a:xfrm>
          <a:prstGeom prst="rect">
            <a:avLst/>
          </a:prstGeom>
        </p:spPr>
      </p:pic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DD956E29-1BC4-45C0-8DA6-E93C4087A9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8290" y="6375818"/>
            <a:ext cx="511868" cy="365125"/>
          </a:xfrm>
        </p:spPr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031493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acts and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1D69198-452E-4A16-BA0F-DA0C681DA6B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4573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2" name="think-cell Slide" r:id="rId4" imgW="359" imgH="358" progId="TCLayout.ActiveDocument.1">
                  <p:embed/>
                </p:oleObj>
              </mc:Choice>
              <mc:Fallback>
                <p:oleObj name="think-cell Slide" r:id="rId4" imgW="359" imgH="35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1D69198-452E-4A16-BA0F-DA0C681DA6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719421ED-E398-409B-84BF-1D7C32EC7EA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52600" y="6339508"/>
            <a:ext cx="1080000" cy="341053"/>
          </a:xfrm>
          <a:prstGeom prst="rect">
            <a:avLst/>
          </a:prstGeom>
        </p:spPr>
      </p:pic>
      <p:sp>
        <p:nvSpPr>
          <p:cNvPr id="16" name="Title 15">
            <a:extLst>
              <a:ext uri="{FF2B5EF4-FFF2-40B4-BE49-F238E27FC236}">
                <a16:creationId xmlns:a16="http://schemas.microsoft.com/office/drawing/2014/main" id="{D4D02CCD-754C-485C-A11B-E3D7545F58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5" name="Subtitle 2">
            <a:extLst>
              <a:ext uri="{FF2B5EF4-FFF2-40B4-BE49-F238E27FC236}">
                <a16:creationId xmlns:a16="http://schemas.microsoft.com/office/drawing/2014/main" id="{C044FC66-9F4B-45CC-9ACC-4FD8A77270D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8150" y="1001374"/>
            <a:ext cx="11394450" cy="369332"/>
          </a:xfrm>
          <a:prstGeom prst="rect">
            <a:avLst/>
          </a:prstGeom>
        </p:spPr>
        <p:txBody>
          <a:bodyPr wrap="square" lIns="72000" tIns="36000" rIns="72000" bIns="36000">
            <a:no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9pPr>
          </a:lstStyle>
          <a:p>
            <a:r>
              <a:rPr lang="en-US" dirty="0"/>
              <a:t>Click to edit subtit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07A1FDB-D80D-499E-9847-704F166F3683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38150" y="1764000"/>
            <a:ext cx="756000" cy="756000"/>
          </a:xfrm>
        </p:spPr>
        <p:txBody>
          <a:bodyPr wrap="none" lIns="0" tIns="612000" rIns="0">
            <a:normAutofit/>
          </a:bodyPr>
          <a:lstStyle>
            <a:lvl1pPr marL="0" indent="0">
              <a:spcBef>
                <a:spcPts val="0"/>
              </a:spcBef>
              <a:buNone/>
              <a:defRPr sz="1000"/>
            </a:lvl1pPr>
          </a:lstStyle>
          <a:p>
            <a:r>
              <a:rPr lang="en-US" dirty="0"/>
              <a:t>Insert icon. </a:t>
            </a:r>
            <a:br>
              <a:rPr lang="en-US" dirty="0"/>
            </a:br>
            <a:r>
              <a:rPr lang="en-US" dirty="0"/>
              <a:t>Use Crop/Fit.  </a:t>
            </a:r>
            <a:br>
              <a:rPr lang="en-US" dirty="0"/>
            </a:br>
            <a:r>
              <a:rPr lang="en-US" dirty="0"/>
              <a:t>Left align with </a:t>
            </a:r>
            <a:br>
              <a:rPr lang="en-US" dirty="0"/>
            </a:br>
            <a:r>
              <a:rPr lang="en-US" dirty="0"/>
              <a:t>Subtitle </a:t>
            </a:r>
            <a:br>
              <a:rPr lang="en-US" dirty="0"/>
            </a:br>
            <a:r>
              <a:rPr lang="en-US" dirty="0"/>
              <a:t>placeholder</a:t>
            </a:r>
          </a:p>
        </p:txBody>
      </p:sp>
      <p:sp>
        <p:nvSpPr>
          <p:cNvPr id="21" name="Picture Placeholder 3">
            <a:extLst>
              <a:ext uri="{FF2B5EF4-FFF2-40B4-BE49-F238E27FC236}">
                <a16:creationId xmlns:a16="http://schemas.microsoft.com/office/drawing/2014/main" id="{7FE5E57D-CA99-4A62-90B5-399E760F7065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436593" y="3294751"/>
            <a:ext cx="756000" cy="756000"/>
          </a:xfrm>
        </p:spPr>
        <p:txBody>
          <a:bodyPr wrap="none" lIns="0" tIns="612000" rIns="0">
            <a:normAutofit/>
          </a:bodyPr>
          <a:lstStyle>
            <a:lvl1pPr marL="0" indent="0">
              <a:spcBef>
                <a:spcPts val="0"/>
              </a:spcBef>
              <a:buNone/>
              <a:defRPr sz="1000"/>
            </a:lvl1pPr>
          </a:lstStyle>
          <a:p>
            <a:r>
              <a:rPr lang="en-US" dirty="0"/>
              <a:t>Insert icon. </a:t>
            </a:r>
            <a:br>
              <a:rPr lang="en-US" dirty="0"/>
            </a:br>
            <a:r>
              <a:rPr lang="en-US" dirty="0"/>
              <a:t>Use Crop/Fit.  </a:t>
            </a:r>
            <a:br>
              <a:rPr lang="en-US" dirty="0"/>
            </a:br>
            <a:r>
              <a:rPr lang="en-US" dirty="0"/>
              <a:t>Left align with </a:t>
            </a:r>
            <a:br>
              <a:rPr lang="en-US" dirty="0"/>
            </a:br>
            <a:r>
              <a:rPr lang="en-US" dirty="0"/>
              <a:t>Subtitle </a:t>
            </a:r>
            <a:br>
              <a:rPr lang="en-US" dirty="0"/>
            </a:br>
            <a:r>
              <a:rPr lang="en-US" dirty="0"/>
              <a:t>placeholder</a:t>
            </a:r>
          </a:p>
        </p:txBody>
      </p:sp>
      <p:sp>
        <p:nvSpPr>
          <p:cNvPr id="22" name="Picture Placeholder 4">
            <a:extLst>
              <a:ext uri="{FF2B5EF4-FFF2-40B4-BE49-F238E27FC236}">
                <a16:creationId xmlns:a16="http://schemas.microsoft.com/office/drawing/2014/main" id="{213528FE-2D0F-4594-81EC-A33B658B87D6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438150" y="4825790"/>
            <a:ext cx="756000" cy="756000"/>
          </a:xfrm>
        </p:spPr>
        <p:txBody>
          <a:bodyPr wrap="none" lIns="0" tIns="612000" rIns="0">
            <a:normAutofit/>
          </a:bodyPr>
          <a:lstStyle>
            <a:lvl1pPr marL="0" indent="0">
              <a:spcBef>
                <a:spcPts val="0"/>
              </a:spcBef>
              <a:buNone/>
              <a:defRPr sz="1000"/>
            </a:lvl1pPr>
          </a:lstStyle>
          <a:p>
            <a:r>
              <a:rPr lang="en-US" dirty="0"/>
              <a:t>Insert icon. </a:t>
            </a:r>
            <a:br>
              <a:rPr lang="en-US" dirty="0"/>
            </a:br>
            <a:r>
              <a:rPr lang="en-US" dirty="0"/>
              <a:t>Use Crop/Fit.  </a:t>
            </a:r>
            <a:br>
              <a:rPr lang="en-US" dirty="0"/>
            </a:br>
            <a:r>
              <a:rPr lang="en-US" dirty="0"/>
              <a:t>Left align with </a:t>
            </a:r>
            <a:br>
              <a:rPr lang="en-US" dirty="0"/>
            </a:br>
            <a:r>
              <a:rPr lang="en-US" dirty="0"/>
              <a:t>Subtitle </a:t>
            </a:r>
            <a:br>
              <a:rPr lang="en-US" dirty="0"/>
            </a:br>
            <a:r>
              <a:rPr lang="en-US" dirty="0"/>
              <a:t>placeholder</a:t>
            </a:r>
          </a:p>
        </p:txBody>
      </p:sp>
      <p:sp>
        <p:nvSpPr>
          <p:cNvPr id="38" name="Picture Placeholder 5">
            <a:extLst>
              <a:ext uri="{FF2B5EF4-FFF2-40B4-BE49-F238E27FC236}">
                <a16:creationId xmlns:a16="http://schemas.microsoft.com/office/drawing/2014/main" id="{84964C0D-ED6D-450B-A222-39167CC9C563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6370638" y="1764000"/>
            <a:ext cx="756000" cy="756000"/>
          </a:xfrm>
        </p:spPr>
        <p:txBody>
          <a:bodyPr wrap="none" lIns="0" tIns="612000" rIns="0">
            <a:normAutofit/>
          </a:bodyPr>
          <a:lstStyle>
            <a:lvl1pPr marL="0" indent="0">
              <a:spcBef>
                <a:spcPts val="0"/>
              </a:spcBef>
              <a:buNone/>
              <a:defRPr sz="1000"/>
            </a:lvl1pPr>
          </a:lstStyle>
          <a:p>
            <a:r>
              <a:rPr lang="en-US" dirty="0"/>
              <a:t>Insert icon. </a:t>
            </a:r>
            <a:br>
              <a:rPr lang="en-US" dirty="0"/>
            </a:br>
            <a:r>
              <a:rPr lang="en-US" dirty="0"/>
              <a:t>Use Crop/Fit.  </a:t>
            </a:r>
            <a:br>
              <a:rPr lang="en-US" dirty="0"/>
            </a:br>
            <a:r>
              <a:rPr lang="en-US" dirty="0"/>
              <a:t>Left align with </a:t>
            </a:r>
            <a:br>
              <a:rPr lang="en-US" dirty="0"/>
            </a:br>
            <a:r>
              <a:rPr lang="en-US" dirty="0"/>
              <a:t>Subtitle </a:t>
            </a:r>
            <a:br>
              <a:rPr lang="en-US" dirty="0"/>
            </a:br>
            <a:r>
              <a:rPr lang="en-US" dirty="0"/>
              <a:t>placeholder</a:t>
            </a:r>
          </a:p>
        </p:txBody>
      </p:sp>
      <p:sp>
        <p:nvSpPr>
          <p:cNvPr id="39" name="Picture Placeholder 6">
            <a:extLst>
              <a:ext uri="{FF2B5EF4-FFF2-40B4-BE49-F238E27FC236}">
                <a16:creationId xmlns:a16="http://schemas.microsoft.com/office/drawing/2014/main" id="{2F21E808-CB4B-46D3-8384-F2985B649CF1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6369081" y="3294751"/>
            <a:ext cx="756000" cy="756000"/>
          </a:xfrm>
        </p:spPr>
        <p:txBody>
          <a:bodyPr wrap="none" lIns="0" tIns="612000" rIns="0">
            <a:normAutofit/>
          </a:bodyPr>
          <a:lstStyle>
            <a:lvl1pPr marL="0" indent="0">
              <a:spcBef>
                <a:spcPts val="0"/>
              </a:spcBef>
              <a:buNone/>
              <a:defRPr sz="1000"/>
            </a:lvl1pPr>
          </a:lstStyle>
          <a:p>
            <a:r>
              <a:rPr lang="en-US" dirty="0"/>
              <a:t>Insert icon. </a:t>
            </a:r>
            <a:br>
              <a:rPr lang="en-US" dirty="0"/>
            </a:br>
            <a:r>
              <a:rPr lang="en-US" dirty="0"/>
              <a:t>Use Crop/Fit.  </a:t>
            </a:r>
            <a:br>
              <a:rPr lang="en-US" dirty="0"/>
            </a:br>
            <a:r>
              <a:rPr lang="en-US" dirty="0"/>
              <a:t>Left align with </a:t>
            </a:r>
            <a:br>
              <a:rPr lang="en-US" dirty="0"/>
            </a:br>
            <a:r>
              <a:rPr lang="en-US" dirty="0"/>
              <a:t>Subtitle </a:t>
            </a:r>
            <a:br>
              <a:rPr lang="en-US" dirty="0"/>
            </a:br>
            <a:r>
              <a:rPr lang="en-US" dirty="0"/>
              <a:t>placeholder</a:t>
            </a:r>
          </a:p>
        </p:txBody>
      </p:sp>
      <p:sp>
        <p:nvSpPr>
          <p:cNvPr id="40" name="Picture Placeholder 7">
            <a:extLst>
              <a:ext uri="{FF2B5EF4-FFF2-40B4-BE49-F238E27FC236}">
                <a16:creationId xmlns:a16="http://schemas.microsoft.com/office/drawing/2014/main" id="{5988548A-34E5-4B1E-846F-E6EFFEA2CC57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6369081" y="4825790"/>
            <a:ext cx="756000" cy="756000"/>
          </a:xfrm>
        </p:spPr>
        <p:txBody>
          <a:bodyPr wrap="none" lIns="0" tIns="612000" rIns="0">
            <a:normAutofit/>
          </a:bodyPr>
          <a:lstStyle>
            <a:lvl1pPr marL="0" indent="0">
              <a:spcBef>
                <a:spcPts val="0"/>
              </a:spcBef>
              <a:buNone/>
              <a:defRPr sz="1000"/>
            </a:lvl1pPr>
          </a:lstStyle>
          <a:p>
            <a:r>
              <a:rPr lang="en-US" dirty="0"/>
              <a:t>Insert icon. </a:t>
            </a:r>
            <a:br>
              <a:rPr lang="en-US" dirty="0"/>
            </a:br>
            <a:r>
              <a:rPr lang="en-US" dirty="0"/>
              <a:t>Use Crop/Fit.  </a:t>
            </a:r>
            <a:br>
              <a:rPr lang="en-US" dirty="0"/>
            </a:br>
            <a:r>
              <a:rPr lang="en-US" dirty="0"/>
              <a:t>Left align with </a:t>
            </a:r>
            <a:br>
              <a:rPr lang="en-US" dirty="0"/>
            </a:br>
            <a:r>
              <a:rPr lang="en-US" dirty="0"/>
              <a:t>Subtitle </a:t>
            </a:r>
            <a:br>
              <a:rPr lang="en-US" dirty="0"/>
            </a:br>
            <a:r>
              <a:rPr lang="en-US" dirty="0"/>
              <a:t>placeholder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59F410AC-9BD6-4F9A-A2CE-355F84B97CE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395162" y="1763712"/>
            <a:ext cx="4500000" cy="1332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6A713E59-1747-4F11-84B1-535B75DEEF2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395162" y="3294751"/>
            <a:ext cx="4500000" cy="1332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339BDACB-DE68-479E-B621-BDEDCA88900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395162" y="4825790"/>
            <a:ext cx="4499999" cy="1332000"/>
          </a:xfrm>
        </p:spPr>
        <p:txBody>
          <a:bodyPr/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08CA7D1D-7EF5-4891-888B-935F28867BA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332600" y="1763712"/>
            <a:ext cx="4500000" cy="1332000"/>
          </a:xfrm>
        </p:spPr>
        <p:txBody>
          <a:bodyPr/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04A69F13-32AF-4F39-AC25-C1AE9BB10C3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32600" y="3294751"/>
            <a:ext cx="4500000" cy="1332000"/>
          </a:xfrm>
        </p:spPr>
        <p:txBody>
          <a:bodyPr/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3251C952-8A33-49CF-9AAD-6FCF6D1BB0A6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332600" y="4825790"/>
            <a:ext cx="4500000" cy="1332000"/>
          </a:xfrm>
        </p:spPr>
        <p:txBody>
          <a:bodyPr/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6CDD2BA-B706-4B3B-8D63-4B1BAEAF2D3E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105131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1111" userDrawn="1">
          <p15:clr>
            <a:srgbClr val="A4A3A4"/>
          </p15:clr>
        </p15:guide>
        <p15:guide id="5" pos="3716" userDrawn="1">
          <p15:clr>
            <a:srgbClr val="A4A3A4"/>
          </p15:clr>
        </p15:guide>
        <p15:guide id="6" pos="4013" userDrawn="1">
          <p15:clr>
            <a:srgbClr val="A4A3A4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ank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0A9B90C-7BC0-4FB7-9360-47D5BE4787E5}"/>
              </a:ext>
            </a:extLst>
          </p:cNvPr>
          <p:cNvSpPr/>
          <p:nvPr/>
        </p:nvSpPr>
        <p:spPr>
          <a:xfrm>
            <a:off x="0" y="3429000"/>
            <a:ext cx="6096000" cy="3429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9008606-37EB-42EF-8D91-B8BA41737358}"/>
              </a:ext>
            </a:extLst>
          </p:cNvPr>
          <p:cNvSpPr/>
          <p:nvPr/>
        </p:nvSpPr>
        <p:spPr>
          <a:xfrm>
            <a:off x="6096000" y="0"/>
            <a:ext cx="6096000" cy="3429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DB8EEF2-F6F0-4392-9B4F-679635295F85}"/>
              </a:ext>
            </a:extLst>
          </p:cNvPr>
          <p:cNvSpPr/>
          <p:nvPr/>
        </p:nvSpPr>
        <p:spPr>
          <a:xfrm>
            <a:off x="0" y="0"/>
            <a:ext cx="6096000" cy="3429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9C0EAD1-45A5-4F30-B47D-F5B98B70DCFC}"/>
              </a:ext>
            </a:extLst>
          </p:cNvPr>
          <p:cNvSpPr/>
          <p:nvPr/>
        </p:nvSpPr>
        <p:spPr>
          <a:xfrm>
            <a:off x="6096000" y="3429000"/>
            <a:ext cx="6096000" cy="3429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CA03142-9AF7-426C-B896-42F26271435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8000" y="425450"/>
            <a:ext cx="5040000" cy="859846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8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pPr lvl="0"/>
            <a:r>
              <a:rPr lang="en-US" dirty="0"/>
              <a:t>Click to edit text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Add icon for illustration</a:t>
            </a:r>
            <a:endParaRPr lang="da-DK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ABCFF17A-8745-4131-80D1-814733A6C1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24000" y="425450"/>
            <a:ext cx="5040000" cy="25781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accent4"/>
                </a:solidFill>
              </a:defRPr>
            </a:lvl2pPr>
            <a:lvl3pPr>
              <a:defRPr>
                <a:solidFill>
                  <a:schemeClr val="accent4"/>
                </a:solidFill>
              </a:defRPr>
            </a:lvl3pPr>
            <a:lvl4pPr>
              <a:defRPr>
                <a:solidFill>
                  <a:schemeClr val="accent4"/>
                </a:solidFill>
              </a:defRPr>
            </a:lvl4pPr>
            <a:lvl5pPr>
              <a:defRPr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endParaRPr lang="en-US" dirty="0"/>
          </a:p>
          <a:p>
            <a:pPr lvl="2"/>
            <a:endParaRPr lang="en-US" dirty="0"/>
          </a:p>
          <a:p>
            <a:pPr lvl="3"/>
            <a:endParaRPr lang="en-US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C24E20B2-841C-4FB9-A8A0-913B9ED0B21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8000" y="3854450"/>
            <a:ext cx="5040000" cy="257810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1"/>
                </a:solidFill>
                <a:latin typeface="+mn-lt"/>
              </a:defRPr>
            </a:lvl1pPr>
            <a:lvl2pPr>
              <a:defRPr b="1">
                <a:solidFill>
                  <a:schemeClr val="accent5"/>
                </a:solidFill>
                <a:latin typeface="+mn-lt"/>
              </a:defRPr>
            </a:lvl2pPr>
            <a:lvl3pPr>
              <a:defRPr b="1">
                <a:solidFill>
                  <a:schemeClr val="accent5"/>
                </a:solidFill>
                <a:latin typeface="+mn-lt"/>
              </a:defRPr>
            </a:lvl3pPr>
            <a:lvl4pPr>
              <a:defRPr b="1">
                <a:solidFill>
                  <a:schemeClr val="accent5"/>
                </a:solidFill>
                <a:latin typeface="+mn-lt"/>
              </a:defRPr>
            </a:lvl4pPr>
            <a:lvl5pPr>
              <a:defRPr b="1">
                <a:solidFill>
                  <a:schemeClr val="accent5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endParaRPr lang="en-US" dirty="0"/>
          </a:p>
        </p:txBody>
      </p:sp>
      <p:sp>
        <p:nvSpPr>
          <p:cNvPr id="17" name="Text Placeholder 19">
            <a:extLst>
              <a:ext uri="{FF2B5EF4-FFF2-40B4-BE49-F238E27FC236}">
                <a16:creationId xmlns:a16="http://schemas.microsoft.com/office/drawing/2014/main" id="{3E6EA14F-0168-4FFE-9AE8-ED3133679DA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24000" y="3873358"/>
            <a:ext cx="5040000" cy="8598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pPr lvl="0"/>
            <a:r>
              <a:rPr lang="en-US" dirty="0"/>
              <a:t>Click to edit text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Add icon for illustration</a:t>
            </a:r>
            <a:endParaRPr lang="da-DK" dirty="0"/>
          </a:p>
        </p:txBody>
      </p:sp>
      <p:sp>
        <p:nvSpPr>
          <p:cNvPr id="3" name="Date Placeholder 2" hidden="1"/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0" y="6858000"/>
            <a:ext cx="0" cy="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2763289C-9708-4506-9CC7-3B98B96B8FE2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528000" y="1534023"/>
            <a:ext cx="1080000" cy="1080000"/>
          </a:xfrm>
        </p:spPr>
        <p:txBody>
          <a:bodyPr wrap="none" lIns="0" tIns="1260000" rIns="0">
            <a:norm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icon. Use Crop/Fit. Left align with text above</a:t>
            </a:r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7E939C39-BEBD-4340-BA07-06BD7F4DE82E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624000" y="5039602"/>
            <a:ext cx="1080000" cy="1080000"/>
          </a:xfrm>
        </p:spPr>
        <p:txBody>
          <a:bodyPr wrap="none" lIns="0" tIns="1260000" rIns="0">
            <a:norm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icon. Use Crop/Fit. Left align with text above 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409588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me journ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>
            <a:extLst>
              <a:ext uri="{FF2B5EF4-FFF2-40B4-BE49-F238E27FC236}">
                <a16:creationId xmlns:a16="http://schemas.microsoft.com/office/drawing/2014/main" id="{23A00839-FB20-42CA-A14D-C7B380E18C9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8150" y="1001374"/>
            <a:ext cx="11394450" cy="369332"/>
          </a:xfrm>
          <a:prstGeom prst="rect">
            <a:avLst/>
          </a:prstGeom>
        </p:spPr>
        <p:txBody>
          <a:bodyPr wrap="square" lIns="72000" tIns="36000" rIns="72000" bIns="36000">
            <a:no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9pPr>
          </a:lstStyle>
          <a:p>
            <a:r>
              <a:rPr lang="en-US" dirty="0"/>
              <a:t>Click to edit subtitle</a:t>
            </a:r>
          </a:p>
        </p:txBody>
      </p:sp>
      <p:sp>
        <p:nvSpPr>
          <p:cNvPr id="10" name="Freeform: Shape 7431">
            <a:extLst>
              <a:ext uri="{FF2B5EF4-FFF2-40B4-BE49-F238E27FC236}">
                <a16:creationId xmlns:a16="http://schemas.microsoft.com/office/drawing/2014/main" id="{1954DBDB-8065-4224-B809-19548EB3D126}"/>
              </a:ext>
            </a:extLst>
          </p:cNvPr>
          <p:cNvSpPr/>
          <p:nvPr/>
        </p:nvSpPr>
        <p:spPr>
          <a:xfrm>
            <a:off x="3589422" y="2289826"/>
            <a:ext cx="5017763" cy="953908"/>
          </a:xfrm>
          <a:custGeom>
            <a:avLst/>
            <a:gdLst>
              <a:gd name="connsiteX0" fmla="*/ 10816 w 13304"/>
              <a:gd name="connsiteY0" fmla="*/ 0 h 10000"/>
              <a:gd name="connsiteX1" fmla="*/ 3304 w 13304"/>
              <a:gd name="connsiteY1" fmla="*/ 0 h 10000"/>
              <a:gd name="connsiteX2" fmla="*/ 4173 w 13304"/>
              <a:gd name="connsiteY2" fmla="*/ 3444 h 10000"/>
              <a:gd name="connsiteX3" fmla="*/ 0 w 13304"/>
              <a:gd name="connsiteY3" fmla="*/ 6889 h 10000"/>
              <a:gd name="connsiteX4" fmla="*/ 8378 w 13304"/>
              <a:gd name="connsiteY4" fmla="*/ 6889 h 10000"/>
              <a:gd name="connsiteX5" fmla="*/ 10781 w 13304"/>
              <a:gd name="connsiteY5" fmla="*/ 6889 h 10000"/>
              <a:gd name="connsiteX6" fmla="*/ 11559 w 13304"/>
              <a:gd name="connsiteY6" fmla="*/ 10000 h 10000"/>
              <a:gd name="connsiteX7" fmla="*/ 13304 w 13304"/>
              <a:gd name="connsiteY7" fmla="*/ 10000 h 10000"/>
              <a:gd name="connsiteX8" fmla="*/ 10816 w 13304"/>
              <a:gd name="connsiteY8" fmla="*/ 0 h 10000"/>
              <a:gd name="connsiteX0" fmla="*/ 10816 w 13304"/>
              <a:gd name="connsiteY0" fmla="*/ 50 h 10050"/>
              <a:gd name="connsiteX1" fmla="*/ 113 w 13304"/>
              <a:gd name="connsiteY1" fmla="*/ 0 h 10050"/>
              <a:gd name="connsiteX2" fmla="*/ 4173 w 13304"/>
              <a:gd name="connsiteY2" fmla="*/ 3494 h 10050"/>
              <a:gd name="connsiteX3" fmla="*/ 0 w 13304"/>
              <a:gd name="connsiteY3" fmla="*/ 6939 h 10050"/>
              <a:gd name="connsiteX4" fmla="*/ 8378 w 13304"/>
              <a:gd name="connsiteY4" fmla="*/ 6939 h 10050"/>
              <a:gd name="connsiteX5" fmla="*/ 10781 w 13304"/>
              <a:gd name="connsiteY5" fmla="*/ 6939 h 10050"/>
              <a:gd name="connsiteX6" fmla="*/ 11559 w 13304"/>
              <a:gd name="connsiteY6" fmla="*/ 10050 h 10050"/>
              <a:gd name="connsiteX7" fmla="*/ 13304 w 13304"/>
              <a:gd name="connsiteY7" fmla="*/ 10050 h 10050"/>
              <a:gd name="connsiteX8" fmla="*/ 10816 w 13304"/>
              <a:gd name="connsiteY8" fmla="*/ 50 h 10050"/>
              <a:gd name="connsiteX0" fmla="*/ 10816 w 13304"/>
              <a:gd name="connsiteY0" fmla="*/ 50 h 10050"/>
              <a:gd name="connsiteX1" fmla="*/ 113 w 13304"/>
              <a:gd name="connsiteY1" fmla="*/ 0 h 10050"/>
              <a:gd name="connsiteX2" fmla="*/ 919 w 13304"/>
              <a:gd name="connsiteY2" fmla="*/ 3444 h 10050"/>
              <a:gd name="connsiteX3" fmla="*/ 0 w 13304"/>
              <a:gd name="connsiteY3" fmla="*/ 6939 h 10050"/>
              <a:gd name="connsiteX4" fmla="*/ 8378 w 13304"/>
              <a:gd name="connsiteY4" fmla="*/ 6939 h 10050"/>
              <a:gd name="connsiteX5" fmla="*/ 10781 w 13304"/>
              <a:gd name="connsiteY5" fmla="*/ 6939 h 10050"/>
              <a:gd name="connsiteX6" fmla="*/ 11559 w 13304"/>
              <a:gd name="connsiteY6" fmla="*/ 10050 h 10050"/>
              <a:gd name="connsiteX7" fmla="*/ 13304 w 13304"/>
              <a:gd name="connsiteY7" fmla="*/ 10050 h 10050"/>
              <a:gd name="connsiteX8" fmla="*/ 10816 w 13304"/>
              <a:gd name="connsiteY8" fmla="*/ 50 h 10050"/>
              <a:gd name="connsiteX0" fmla="*/ 10816 w 13304"/>
              <a:gd name="connsiteY0" fmla="*/ 0 h 10000"/>
              <a:gd name="connsiteX1" fmla="*/ 63 w 13304"/>
              <a:gd name="connsiteY1" fmla="*/ 0 h 10000"/>
              <a:gd name="connsiteX2" fmla="*/ 919 w 13304"/>
              <a:gd name="connsiteY2" fmla="*/ 3394 h 10000"/>
              <a:gd name="connsiteX3" fmla="*/ 0 w 13304"/>
              <a:gd name="connsiteY3" fmla="*/ 6889 h 10000"/>
              <a:gd name="connsiteX4" fmla="*/ 8378 w 13304"/>
              <a:gd name="connsiteY4" fmla="*/ 6889 h 10000"/>
              <a:gd name="connsiteX5" fmla="*/ 10781 w 13304"/>
              <a:gd name="connsiteY5" fmla="*/ 6889 h 10000"/>
              <a:gd name="connsiteX6" fmla="*/ 11559 w 13304"/>
              <a:gd name="connsiteY6" fmla="*/ 10000 h 10000"/>
              <a:gd name="connsiteX7" fmla="*/ 13304 w 13304"/>
              <a:gd name="connsiteY7" fmla="*/ 10000 h 10000"/>
              <a:gd name="connsiteX8" fmla="*/ 10816 w 13304"/>
              <a:gd name="connsiteY8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304" h="10000">
                <a:moveTo>
                  <a:pt x="10816" y="0"/>
                </a:moveTo>
                <a:lnTo>
                  <a:pt x="63" y="0"/>
                </a:lnTo>
                <a:lnTo>
                  <a:pt x="919" y="3394"/>
                </a:lnTo>
                <a:lnTo>
                  <a:pt x="0" y="6889"/>
                </a:lnTo>
                <a:lnTo>
                  <a:pt x="8378" y="6889"/>
                </a:lnTo>
                <a:lnTo>
                  <a:pt x="10781" y="6889"/>
                </a:lnTo>
                <a:cubicBezTo>
                  <a:pt x="11216" y="6917"/>
                  <a:pt x="11559" y="8306"/>
                  <a:pt x="11559" y="10000"/>
                </a:cubicBezTo>
                <a:lnTo>
                  <a:pt x="13304" y="10000"/>
                </a:lnTo>
                <a:cubicBezTo>
                  <a:pt x="13304" y="4528"/>
                  <a:pt x="12190" y="56"/>
                  <a:pt x="10816" y="0"/>
                </a:cubicBezTo>
                <a:close/>
              </a:path>
            </a:pathLst>
          </a:custGeom>
          <a:solidFill>
            <a:schemeClr val="bg2">
              <a:alpha val="55686"/>
            </a:schemeClr>
          </a:solidFill>
          <a:ln cap="flat">
            <a:noFill/>
            <a:prstDash val="solid"/>
          </a:ln>
        </p:spPr>
        <p:txBody>
          <a:bodyPr wrap="none" lIns="90000" tIns="45000" rIns="90000" bIns="45000" anchor="ctr" anchorCtr="1" compatLnSpc="0"/>
          <a:lstStyle/>
          <a:p>
            <a:pPr defTabSz="1828434" eaLnBrk="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11" name="Freeform: Shape 7432">
            <a:extLst>
              <a:ext uri="{FF2B5EF4-FFF2-40B4-BE49-F238E27FC236}">
                <a16:creationId xmlns:a16="http://schemas.microsoft.com/office/drawing/2014/main" id="{163A1AE6-7163-4E61-B438-D7538E3D291D}"/>
              </a:ext>
            </a:extLst>
          </p:cNvPr>
          <p:cNvSpPr/>
          <p:nvPr/>
        </p:nvSpPr>
        <p:spPr>
          <a:xfrm>
            <a:off x="1828932" y="2290839"/>
            <a:ext cx="1752312" cy="656053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660" h="248">
                <a:moveTo>
                  <a:pt x="660" y="124"/>
                </a:moveTo>
                <a:lnTo>
                  <a:pt x="536" y="0"/>
                </a:lnTo>
                <a:lnTo>
                  <a:pt x="0" y="0"/>
                </a:lnTo>
                <a:lnTo>
                  <a:pt x="124" y="124"/>
                </a:lnTo>
                <a:lnTo>
                  <a:pt x="0" y="248"/>
                </a:lnTo>
                <a:lnTo>
                  <a:pt x="536" y="248"/>
                </a:lnTo>
                <a:close/>
              </a:path>
            </a:pathLst>
          </a:custGeom>
          <a:solidFill>
            <a:schemeClr val="accent2"/>
          </a:solidFill>
          <a:ln cap="flat">
            <a:noFill/>
            <a:prstDash val="solid"/>
          </a:ln>
        </p:spPr>
        <p:txBody>
          <a:bodyPr wrap="none" lIns="90000" tIns="45000" rIns="90000" bIns="45000" anchor="ctr" anchorCtr="1" compatLnSpc="0"/>
          <a:lstStyle/>
          <a:p>
            <a:pPr defTabSz="1828434" eaLnBrk="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12" name="Freeform: Shape 7433">
            <a:extLst>
              <a:ext uri="{FF2B5EF4-FFF2-40B4-BE49-F238E27FC236}">
                <a16:creationId xmlns:a16="http://schemas.microsoft.com/office/drawing/2014/main" id="{49585EA3-0E22-422D-8464-2588246E6110}"/>
              </a:ext>
            </a:extLst>
          </p:cNvPr>
          <p:cNvSpPr/>
          <p:nvPr/>
        </p:nvSpPr>
        <p:spPr>
          <a:xfrm>
            <a:off x="3340328" y="2289826"/>
            <a:ext cx="478888" cy="656053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181" h="248">
                <a:moveTo>
                  <a:pt x="181" y="124"/>
                </a:moveTo>
                <a:lnTo>
                  <a:pt x="57" y="0"/>
                </a:lnTo>
                <a:lnTo>
                  <a:pt x="0" y="0"/>
                </a:lnTo>
                <a:lnTo>
                  <a:pt x="125" y="124"/>
                </a:lnTo>
                <a:lnTo>
                  <a:pt x="0" y="248"/>
                </a:lnTo>
                <a:lnTo>
                  <a:pt x="57" y="248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 cap="flat">
            <a:noFill/>
            <a:prstDash val="solid"/>
          </a:ln>
        </p:spPr>
        <p:txBody>
          <a:bodyPr wrap="none" lIns="90000" tIns="45000" rIns="90000" bIns="45000" anchor="ctr" anchorCtr="1" compatLnSpc="0"/>
          <a:lstStyle/>
          <a:p>
            <a:pPr defTabSz="1828434" eaLnBrk="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13" name="Freeform: Shape 7434">
            <a:extLst>
              <a:ext uri="{FF2B5EF4-FFF2-40B4-BE49-F238E27FC236}">
                <a16:creationId xmlns:a16="http://schemas.microsoft.com/office/drawing/2014/main" id="{83D91EAF-1DCE-46BF-B2EA-D3E993E5800E}"/>
              </a:ext>
            </a:extLst>
          </p:cNvPr>
          <p:cNvSpPr/>
          <p:nvPr/>
        </p:nvSpPr>
        <p:spPr>
          <a:xfrm>
            <a:off x="8095399" y="4795672"/>
            <a:ext cx="468056" cy="659147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177" h="249">
                <a:moveTo>
                  <a:pt x="53" y="0"/>
                </a:moveTo>
                <a:lnTo>
                  <a:pt x="0" y="0"/>
                </a:lnTo>
                <a:lnTo>
                  <a:pt x="124" y="124"/>
                </a:lnTo>
                <a:lnTo>
                  <a:pt x="0" y="249"/>
                </a:lnTo>
                <a:lnTo>
                  <a:pt x="53" y="249"/>
                </a:lnTo>
                <a:lnTo>
                  <a:pt x="177" y="124"/>
                </a:lnTo>
                <a:close/>
              </a:path>
            </a:pathLst>
          </a:custGeom>
          <a:solidFill>
            <a:schemeClr val="accent1"/>
          </a:solidFill>
          <a:ln cap="flat">
            <a:noFill/>
            <a:prstDash val="solid"/>
          </a:ln>
        </p:spPr>
        <p:txBody>
          <a:bodyPr wrap="none" lIns="90000" tIns="45000" rIns="90000" bIns="45000" anchor="ctr" anchorCtr="1" compatLnSpc="0"/>
          <a:lstStyle/>
          <a:p>
            <a:pPr defTabSz="1828434" eaLnBrk="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14" name="Freeform: Shape 7435">
            <a:extLst>
              <a:ext uri="{FF2B5EF4-FFF2-40B4-BE49-F238E27FC236}">
                <a16:creationId xmlns:a16="http://schemas.microsoft.com/office/drawing/2014/main" id="{DE934865-3D90-4A87-8545-42420C2D9948}"/>
              </a:ext>
            </a:extLst>
          </p:cNvPr>
          <p:cNvSpPr/>
          <p:nvPr/>
        </p:nvSpPr>
        <p:spPr>
          <a:xfrm>
            <a:off x="2941354" y="3243734"/>
            <a:ext cx="5660007" cy="1254083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2130" h="473">
                <a:moveTo>
                  <a:pt x="2130" y="0"/>
                </a:moveTo>
                <a:lnTo>
                  <a:pt x="1881" y="0"/>
                </a:lnTo>
                <a:cubicBezTo>
                  <a:pt x="1881" y="62"/>
                  <a:pt x="1832" y="112"/>
                  <a:pt x="1770" y="112"/>
                </a:cubicBezTo>
                <a:lnTo>
                  <a:pt x="1427" y="112"/>
                </a:lnTo>
                <a:lnTo>
                  <a:pt x="360" y="112"/>
                </a:lnTo>
                <a:lnTo>
                  <a:pt x="352" y="112"/>
                </a:lnTo>
                <a:lnTo>
                  <a:pt x="352" y="113"/>
                </a:lnTo>
                <a:cubicBezTo>
                  <a:pt x="157" y="117"/>
                  <a:pt x="0" y="277"/>
                  <a:pt x="0" y="473"/>
                </a:cubicBezTo>
                <a:lnTo>
                  <a:pt x="248" y="473"/>
                </a:lnTo>
                <a:cubicBezTo>
                  <a:pt x="248" y="411"/>
                  <a:pt x="298" y="361"/>
                  <a:pt x="360" y="361"/>
                </a:cubicBezTo>
                <a:lnTo>
                  <a:pt x="703" y="361"/>
                </a:lnTo>
                <a:lnTo>
                  <a:pt x="1770" y="361"/>
                </a:lnTo>
                <a:cubicBezTo>
                  <a:pt x="1969" y="361"/>
                  <a:pt x="2130" y="199"/>
                  <a:pt x="2130" y="0"/>
                </a:cubicBezTo>
                <a:close/>
              </a:path>
            </a:pathLst>
          </a:custGeom>
          <a:solidFill>
            <a:schemeClr val="bg2">
              <a:alpha val="55686"/>
            </a:schemeClr>
          </a:solidFill>
          <a:ln cap="flat">
            <a:noFill/>
            <a:prstDash val="solid"/>
          </a:ln>
        </p:spPr>
        <p:txBody>
          <a:bodyPr wrap="none" lIns="90000" tIns="45000" rIns="90000" bIns="45000" anchor="ctr" anchorCtr="1" compatLnSpc="0"/>
          <a:lstStyle/>
          <a:p>
            <a:pPr defTabSz="1828434" eaLnBrk="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15" name="Freeform: Shape 7436">
            <a:extLst>
              <a:ext uri="{FF2B5EF4-FFF2-40B4-BE49-F238E27FC236}">
                <a16:creationId xmlns:a16="http://schemas.microsoft.com/office/drawing/2014/main" id="{2A8F5714-E4D5-4865-ACC8-10BEADD88251}"/>
              </a:ext>
            </a:extLst>
          </p:cNvPr>
          <p:cNvSpPr/>
          <p:nvPr/>
        </p:nvSpPr>
        <p:spPr>
          <a:xfrm>
            <a:off x="2940267" y="4497817"/>
            <a:ext cx="5375305" cy="957002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2023" h="361">
                <a:moveTo>
                  <a:pt x="1899" y="112"/>
                </a:moveTo>
                <a:lnTo>
                  <a:pt x="703" y="112"/>
                </a:lnTo>
                <a:lnTo>
                  <a:pt x="365" y="112"/>
                </a:lnTo>
                <a:lnTo>
                  <a:pt x="360" y="112"/>
                </a:lnTo>
                <a:cubicBezTo>
                  <a:pt x="298" y="112"/>
                  <a:pt x="248" y="62"/>
                  <a:pt x="248" y="0"/>
                </a:cubicBezTo>
                <a:lnTo>
                  <a:pt x="0" y="0"/>
                </a:lnTo>
                <a:cubicBezTo>
                  <a:pt x="0" y="199"/>
                  <a:pt x="161" y="361"/>
                  <a:pt x="360" y="361"/>
                </a:cubicBezTo>
                <a:cubicBezTo>
                  <a:pt x="362" y="361"/>
                  <a:pt x="364" y="360"/>
                  <a:pt x="365" y="360"/>
                </a:cubicBezTo>
                <a:lnTo>
                  <a:pt x="365" y="361"/>
                </a:lnTo>
                <a:lnTo>
                  <a:pt x="1899" y="361"/>
                </a:lnTo>
                <a:lnTo>
                  <a:pt x="2023" y="236"/>
                </a:lnTo>
                <a:close/>
              </a:path>
            </a:pathLst>
          </a:custGeom>
          <a:solidFill>
            <a:schemeClr val="bg2">
              <a:alpha val="55686"/>
            </a:schemeClr>
          </a:solidFill>
          <a:ln cap="flat">
            <a:noFill/>
            <a:prstDash val="solid"/>
          </a:ln>
        </p:spPr>
        <p:txBody>
          <a:bodyPr wrap="none" lIns="90000" tIns="45000" rIns="90000" bIns="45000" anchor="ctr" anchorCtr="1" compatLnSpc="0"/>
          <a:lstStyle/>
          <a:p>
            <a:pPr defTabSz="1828434" eaLnBrk="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latin typeface="Lato" charset="0"/>
              <a:ea typeface="Lato" charset="0"/>
              <a:cs typeface="Lato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7F1A13-94A3-4965-BF53-47EA7D7DA0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63013" y="2286732"/>
            <a:ext cx="1000588" cy="658627"/>
          </a:xfrm>
          <a:prstGeom prst="rect">
            <a:avLst/>
          </a:prstGeom>
        </p:spPr>
        <p:txBody>
          <a:bodyPr lIns="0" tIns="72000" rIns="0" bIns="72000"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edit title</a:t>
            </a:r>
            <a:endParaRPr lang="da-DK" dirty="0"/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DF2C5D21-9E46-4D38-A03E-22CFCF181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01361" y="4768777"/>
            <a:ext cx="2208325" cy="18872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ts val="800"/>
              </a:lnSpc>
              <a:buNone/>
              <a:defRPr sz="1400">
                <a:latin typeface="+mn-lt"/>
              </a:defRPr>
            </a:lvl1pPr>
          </a:lstStyle>
          <a:p>
            <a:pPr lvl="0"/>
            <a:r>
              <a:rPr lang="en-US" dirty="0"/>
              <a:t>Click to edit title</a:t>
            </a:r>
            <a:endParaRPr lang="da-DK" dirty="0"/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3292DCBC-07FD-4465-94D4-ADF57C0A294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01361" y="4987896"/>
            <a:ext cx="2208325" cy="10455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ts val="800"/>
              </a:lnSpc>
              <a:buNone/>
              <a:defRPr sz="1400">
                <a:latin typeface="+mj-lt"/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F0630EBE-9039-4521-9E1F-C84C23ACC1D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73246" y="4300114"/>
            <a:ext cx="1438275" cy="6508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3600">
                <a:solidFill>
                  <a:schemeClr val="accent6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5pPr>
              <a:defRPr/>
            </a:lvl5pPr>
          </a:lstStyle>
          <a:p>
            <a:pPr lvl="0"/>
            <a:r>
              <a:rPr lang="da-DK" dirty="0"/>
              <a:t>35%</a:t>
            </a:r>
          </a:p>
        </p:txBody>
      </p:sp>
      <p:sp>
        <p:nvSpPr>
          <p:cNvPr id="32" name="Text Placeholder 16">
            <a:extLst>
              <a:ext uri="{FF2B5EF4-FFF2-40B4-BE49-F238E27FC236}">
                <a16:creationId xmlns:a16="http://schemas.microsoft.com/office/drawing/2014/main" id="{24F54025-0825-4A2D-BBF9-2B05CBE4111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095399" y="2953781"/>
            <a:ext cx="1438275" cy="6508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3600">
                <a:solidFill>
                  <a:schemeClr val="accent6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5pPr>
              <a:defRPr/>
            </a:lvl5pPr>
          </a:lstStyle>
          <a:p>
            <a:pPr lvl="0"/>
            <a:r>
              <a:rPr lang="da-DK" dirty="0"/>
              <a:t>35%</a:t>
            </a: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BAF8CE11-293C-42C9-97D0-D448CBF3EF1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59970" y="1803420"/>
            <a:ext cx="2137221" cy="36988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pPr lvl="0"/>
            <a:r>
              <a:rPr lang="en-US" dirty="0"/>
              <a:t>Click to edit title</a:t>
            </a:r>
            <a:endParaRPr lang="da-DK" dirty="0"/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C987F7F5-68C3-4D38-AA24-8282756AB25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45387" y="3060982"/>
            <a:ext cx="2137221" cy="36988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pPr lvl="0"/>
            <a:r>
              <a:rPr lang="en-US" dirty="0"/>
              <a:t>Click to edit title</a:t>
            </a:r>
            <a:endParaRPr lang="da-DK" dirty="0"/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5452DEAA-C428-4391-98C5-14016843BC6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59970" y="4313985"/>
            <a:ext cx="2137221" cy="36988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pPr lvl="0"/>
            <a:r>
              <a:rPr lang="en-US" dirty="0"/>
              <a:t>Click to edit title</a:t>
            </a:r>
            <a:endParaRPr lang="da-DK" dirty="0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41F53822-CDD6-4063-8132-19DCE174090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42771" y="4794659"/>
            <a:ext cx="3771620" cy="657066"/>
          </a:xfrm>
          <a:prstGeom prst="rect">
            <a:avLst/>
          </a:prstGeom>
        </p:spPr>
        <p:txBody>
          <a:bodyPr lIns="0" tIns="108000" rIns="0" bIns="108000" anchor="t">
            <a:noAutofit/>
          </a:bodyPr>
          <a:lstStyle>
            <a:lvl1pPr marL="0" indent="0" algn="ctr">
              <a:lnSpc>
                <a:spcPts val="800"/>
              </a:lnSpc>
              <a:buNone/>
              <a:defRPr sz="1400">
                <a:latin typeface="+mj-lt"/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5D90B23A-71D3-4CD4-827D-65A236B0634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928189" y="2288293"/>
            <a:ext cx="3771619" cy="657066"/>
          </a:xfrm>
          <a:prstGeom prst="rect">
            <a:avLst/>
          </a:prstGeom>
        </p:spPr>
        <p:txBody>
          <a:bodyPr lIns="0" tIns="108000" rIns="0" bIns="108000" anchor="t">
            <a:noAutofit/>
          </a:bodyPr>
          <a:lstStyle>
            <a:lvl1pPr marL="0" indent="0" algn="ctr">
              <a:lnSpc>
                <a:spcPts val="800"/>
              </a:lnSpc>
              <a:buNone/>
              <a:defRPr sz="1400">
                <a:latin typeface="+mj-lt"/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9F6B2D7C-9DE2-4C43-9EB8-24E8FE97518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928189" y="3541262"/>
            <a:ext cx="3771620" cy="657066"/>
          </a:xfrm>
          <a:prstGeom prst="rect">
            <a:avLst/>
          </a:prstGeom>
        </p:spPr>
        <p:txBody>
          <a:bodyPr lIns="0" tIns="108000" rIns="0" bIns="108000" anchor="t">
            <a:noAutofit/>
          </a:bodyPr>
          <a:lstStyle>
            <a:lvl1pPr marL="0" indent="0" algn="ctr">
              <a:lnSpc>
                <a:spcPts val="800"/>
              </a:lnSpc>
              <a:buNone/>
              <a:defRPr sz="1400">
                <a:latin typeface="+mj-lt"/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8" name="Title Placeholder 1">
            <a:extLst>
              <a:ext uri="{FF2B5EF4-FFF2-40B4-BE49-F238E27FC236}">
                <a16:creationId xmlns:a16="http://schemas.microsoft.com/office/drawing/2014/main" id="{2BEFA90D-D6E4-4EDC-922E-B12E9CF6A8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37118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/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35" name="Footer Placeholder 4">
            <a:extLst>
              <a:ext uri="{FF2B5EF4-FFF2-40B4-BE49-F238E27FC236}">
                <a16:creationId xmlns:a16="http://schemas.microsoft.com/office/drawing/2014/main" id="{15C7A406-EEAE-45A0-B148-EFB6F249F59E}"/>
              </a:ext>
            </a:extLst>
          </p:cNvPr>
          <p:cNvSpPr txBox="1">
            <a:spLocks/>
          </p:cNvSpPr>
          <p:nvPr/>
        </p:nvSpPr>
        <p:spPr>
          <a:xfrm>
            <a:off x="10762637" y="6339507"/>
            <a:ext cx="1069963" cy="341053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02B2F7F1-05EF-4074-9D69-78BA224E38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0264900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FBE981E9-87B2-40BB-8449-60F93DCE7B08}"/>
              </a:ext>
            </a:extLst>
          </p:cNvPr>
          <p:cNvCxnSpPr/>
          <p:nvPr/>
        </p:nvCxnSpPr>
        <p:spPr>
          <a:xfrm>
            <a:off x="9796571" y="3279611"/>
            <a:ext cx="1573" cy="695248"/>
          </a:xfrm>
          <a:prstGeom prst="line">
            <a:avLst/>
          </a:prstGeom>
          <a:ln w="19050">
            <a:solidFill>
              <a:schemeClr val="accent5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D2C72E3A-91CF-4BD5-9AA5-E94DAAA667BA}"/>
              </a:ext>
            </a:extLst>
          </p:cNvPr>
          <p:cNvCxnSpPr/>
          <p:nvPr/>
        </p:nvCxnSpPr>
        <p:spPr>
          <a:xfrm>
            <a:off x="3596961" y="3276292"/>
            <a:ext cx="1573" cy="695248"/>
          </a:xfrm>
          <a:prstGeom prst="line">
            <a:avLst/>
          </a:prstGeom>
          <a:ln w="19050">
            <a:solidFill>
              <a:schemeClr val="accent5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514046B0-37D6-45D0-A3E3-271C678D5723}"/>
              </a:ext>
            </a:extLst>
          </p:cNvPr>
          <p:cNvCxnSpPr/>
          <p:nvPr/>
        </p:nvCxnSpPr>
        <p:spPr>
          <a:xfrm>
            <a:off x="5143253" y="3499708"/>
            <a:ext cx="1573" cy="695248"/>
          </a:xfrm>
          <a:prstGeom prst="line">
            <a:avLst/>
          </a:prstGeom>
          <a:ln w="19050">
            <a:solidFill>
              <a:schemeClr val="accent5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E604EA8B-078F-44DE-BACB-05D12AD13DBE}"/>
              </a:ext>
            </a:extLst>
          </p:cNvPr>
          <p:cNvCxnSpPr/>
          <p:nvPr/>
        </p:nvCxnSpPr>
        <p:spPr>
          <a:xfrm>
            <a:off x="6689545" y="3276292"/>
            <a:ext cx="1573" cy="695248"/>
          </a:xfrm>
          <a:prstGeom prst="line">
            <a:avLst/>
          </a:prstGeom>
          <a:ln w="19050">
            <a:solidFill>
              <a:schemeClr val="accent5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1CE11864-AD98-4C67-88BB-1802ED063728}"/>
              </a:ext>
            </a:extLst>
          </p:cNvPr>
          <p:cNvCxnSpPr/>
          <p:nvPr/>
        </p:nvCxnSpPr>
        <p:spPr>
          <a:xfrm>
            <a:off x="8258295" y="3512242"/>
            <a:ext cx="1573" cy="695248"/>
          </a:xfrm>
          <a:prstGeom prst="line">
            <a:avLst/>
          </a:prstGeom>
          <a:ln w="19050">
            <a:solidFill>
              <a:schemeClr val="accent5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FA7B4C17-FF4A-4A40-8D35-A5E54F42CC52}"/>
              </a:ext>
            </a:extLst>
          </p:cNvPr>
          <p:cNvCxnSpPr>
            <a:cxnSpLocks/>
            <a:stCxn id="41" idx="2"/>
            <a:endCxn id="42" idx="0"/>
          </p:cNvCxnSpPr>
          <p:nvPr/>
        </p:nvCxnSpPr>
        <p:spPr>
          <a:xfrm>
            <a:off x="2049741" y="3488395"/>
            <a:ext cx="1573" cy="695248"/>
          </a:xfrm>
          <a:prstGeom prst="line">
            <a:avLst/>
          </a:prstGeom>
          <a:ln w="19050">
            <a:solidFill>
              <a:schemeClr val="accent5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ubtitle 2">
            <a:extLst>
              <a:ext uri="{FF2B5EF4-FFF2-40B4-BE49-F238E27FC236}">
                <a16:creationId xmlns:a16="http://schemas.microsoft.com/office/drawing/2014/main" id="{23A00839-FB20-42CA-A14D-C7B380E18C9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8150" y="1001374"/>
            <a:ext cx="11394450" cy="369332"/>
          </a:xfrm>
          <a:prstGeom prst="rect">
            <a:avLst/>
          </a:prstGeom>
        </p:spPr>
        <p:txBody>
          <a:bodyPr wrap="square" lIns="72000" tIns="36000" rIns="72000" bIns="36000">
            <a:no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9pPr>
          </a:lstStyle>
          <a:p>
            <a:r>
              <a:rPr lang="en-US" dirty="0"/>
              <a:t>Click to edit subtitle</a:t>
            </a:r>
          </a:p>
        </p:txBody>
      </p:sp>
      <p:sp>
        <p:nvSpPr>
          <p:cNvPr id="37" name="Shape 978">
            <a:extLst>
              <a:ext uri="{FF2B5EF4-FFF2-40B4-BE49-F238E27FC236}">
                <a16:creationId xmlns:a16="http://schemas.microsoft.com/office/drawing/2014/main" id="{11F35FA9-2F8A-42A5-96A9-784D2A81EBF3}"/>
              </a:ext>
            </a:extLst>
          </p:cNvPr>
          <p:cNvSpPr/>
          <p:nvPr/>
        </p:nvSpPr>
        <p:spPr>
          <a:xfrm>
            <a:off x="18263508" y="6680560"/>
            <a:ext cx="1840627" cy="1840627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lIns="182778" tIns="91364" rIns="182778" bIns="91364" anchor="ctr" anchorCtr="0">
            <a:noAutofit/>
          </a:bodyPr>
          <a:lstStyle/>
          <a:p>
            <a:pPr algn="ctr"/>
            <a:endParaRPr sz="7198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" name="Shape 985">
            <a:extLst>
              <a:ext uri="{FF2B5EF4-FFF2-40B4-BE49-F238E27FC236}">
                <a16:creationId xmlns:a16="http://schemas.microsoft.com/office/drawing/2014/main" id="{BE2C25E0-D6F4-4E65-8C4C-167BE5E48FB8}"/>
              </a:ext>
            </a:extLst>
          </p:cNvPr>
          <p:cNvSpPr txBox="1"/>
          <p:nvPr/>
        </p:nvSpPr>
        <p:spPr>
          <a:xfrm>
            <a:off x="18757036" y="6807059"/>
            <a:ext cx="1344848" cy="709025"/>
          </a:xfrm>
          <a:prstGeom prst="rect">
            <a:avLst/>
          </a:prstGeom>
          <a:noFill/>
          <a:ln>
            <a:noFill/>
          </a:ln>
        </p:spPr>
        <p:txBody>
          <a:bodyPr lIns="487510" tIns="243754" rIns="487510" bIns="243754" anchor="ctr" anchorCtr="0">
            <a:noAutofit/>
          </a:bodyPr>
          <a:lstStyle/>
          <a:p>
            <a:pPr algn="ctr">
              <a:buSzPct val="25000"/>
            </a:pPr>
            <a:r>
              <a:rPr lang="en-US" sz="5400" dirty="0">
                <a:latin typeface="Lato" charset="0"/>
                <a:ea typeface="Lato" charset="0"/>
                <a:cs typeface="Lato" charset="0"/>
                <a:sym typeface="Roboto"/>
              </a:rPr>
              <a:t>95%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C700444D-7C2B-4B25-A710-D9219F9139FC}"/>
              </a:ext>
            </a:extLst>
          </p:cNvPr>
          <p:cNvGrpSpPr/>
          <p:nvPr/>
        </p:nvGrpSpPr>
        <p:grpSpPr>
          <a:xfrm>
            <a:off x="2049741" y="3699702"/>
            <a:ext cx="7757982" cy="0"/>
            <a:chOff x="1429030" y="4482059"/>
            <a:chExt cx="7757982" cy="0"/>
          </a:xfrm>
        </p:grpSpPr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168635DB-6207-4C84-8660-5061659B259F}"/>
                </a:ext>
              </a:extLst>
            </p:cNvPr>
            <p:cNvCxnSpPr/>
            <p:nvPr/>
          </p:nvCxnSpPr>
          <p:spPr>
            <a:xfrm>
              <a:off x="7641506" y="4482059"/>
              <a:ext cx="1545506" cy="0"/>
            </a:xfrm>
            <a:prstGeom prst="line">
              <a:avLst/>
            </a:prstGeom>
            <a:ln w="47625">
              <a:solidFill>
                <a:schemeClr val="accent5"/>
              </a:solidFill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6B739FF1-5712-4DB0-8430-BA8D0DC596BB}"/>
                </a:ext>
              </a:extLst>
            </p:cNvPr>
            <p:cNvCxnSpPr/>
            <p:nvPr/>
          </p:nvCxnSpPr>
          <p:spPr>
            <a:xfrm>
              <a:off x="6096000" y="4482059"/>
              <a:ext cx="1545506" cy="0"/>
            </a:xfrm>
            <a:prstGeom prst="line">
              <a:avLst/>
            </a:prstGeom>
            <a:ln w="47625">
              <a:solidFill>
                <a:schemeClr val="accent4"/>
              </a:solidFill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8F8E77A8-BB88-4670-8248-0969F3FD3213}"/>
                </a:ext>
              </a:extLst>
            </p:cNvPr>
            <p:cNvCxnSpPr/>
            <p:nvPr/>
          </p:nvCxnSpPr>
          <p:spPr>
            <a:xfrm>
              <a:off x="4520042" y="4482059"/>
              <a:ext cx="1545506" cy="0"/>
            </a:xfrm>
            <a:prstGeom prst="line">
              <a:avLst/>
            </a:prstGeom>
            <a:ln w="47625">
              <a:solidFill>
                <a:schemeClr val="accent3"/>
              </a:solidFill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EBA6C91D-9FE3-4788-8EE7-CCA555B1EEC4}"/>
                </a:ext>
              </a:extLst>
            </p:cNvPr>
            <p:cNvCxnSpPr/>
            <p:nvPr/>
          </p:nvCxnSpPr>
          <p:spPr>
            <a:xfrm>
              <a:off x="2974536" y="4482059"/>
              <a:ext cx="1545506" cy="0"/>
            </a:xfrm>
            <a:prstGeom prst="line">
              <a:avLst/>
            </a:prstGeom>
            <a:ln w="47625">
              <a:solidFill>
                <a:schemeClr val="accent2"/>
              </a:solidFill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Straight Connector 2">
              <a:extLst>
                <a:ext uri="{FF2B5EF4-FFF2-40B4-BE49-F238E27FC236}">
                  <a16:creationId xmlns:a16="http://schemas.microsoft.com/office/drawing/2014/main" id="{4DC9CA4D-D057-4476-B2A0-13C4821579CD}"/>
                </a:ext>
              </a:extLst>
            </p:cNvPr>
            <p:cNvCxnSpPr/>
            <p:nvPr/>
          </p:nvCxnSpPr>
          <p:spPr>
            <a:xfrm>
              <a:off x="1429030" y="4482059"/>
              <a:ext cx="1545506" cy="0"/>
            </a:xfrm>
            <a:prstGeom prst="line">
              <a:avLst/>
            </a:prstGeom>
            <a:ln w="47625"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1" name="Text Placeholder 11">
            <a:extLst>
              <a:ext uri="{FF2B5EF4-FFF2-40B4-BE49-F238E27FC236}">
                <a16:creationId xmlns:a16="http://schemas.microsoft.com/office/drawing/2014/main" id="{844CA913-F4C1-4DB5-B995-1E0A80463A9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56527" y="3158709"/>
            <a:ext cx="1186427" cy="3296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0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YEAR</a:t>
            </a:r>
            <a:endParaRPr lang="da-DK" dirty="0"/>
          </a:p>
        </p:txBody>
      </p:sp>
      <p:sp>
        <p:nvSpPr>
          <p:cNvPr id="42" name="Text Placeholder 11">
            <a:extLst>
              <a:ext uri="{FF2B5EF4-FFF2-40B4-BE49-F238E27FC236}">
                <a16:creationId xmlns:a16="http://schemas.microsoft.com/office/drawing/2014/main" id="{5793D357-8EF8-4CAE-805D-47972E268E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9673" y="4183643"/>
            <a:ext cx="1683281" cy="172939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latin typeface="+mj-lt"/>
              </a:defRPr>
            </a:lvl1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43" name="Text Placeholder 11">
            <a:extLst>
              <a:ext uri="{FF2B5EF4-FFF2-40B4-BE49-F238E27FC236}">
                <a16:creationId xmlns:a16="http://schemas.microsoft.com/office/drawing/2014/main" id="{78FDE029-30E8-47F4-BC7D-4257490F0AC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99112" y="4183642"/>
            <a:ext cx="1683281" cy="172939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latin typeface="+mj-lt"/>
              </a:defRPr>
            </a:lvl1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44" name="Text Placeholder 11">
            <a:extLst>
              <a:ext uri="{FF2B5EF4-FFF2-40B4-BE49-F238E27FC236}">
                <a16:creationId xmlns:a16="http://schemas.microsoft.com/office/drawing/2014/main" id="{DC029697-6EFE-456C-AC9E-EC23F4E8543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416654" y="4183642"/>
            <a:ext cx="1683281" cy="172939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latin typeface="+mj-lt"/>
              </a:defRPr>
            </a:lvl1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45" name="Text Placeholder 11">
            <a:extLst>
              <a:ext uri="{FF2B5EF4-FFF2-40B4-BE49-F238E27FC236}">
                <a16:creationId xmlns:a16="http://schemas.microsoft.com/office/drawing/2014/main" id="{F37A66BD-B3EF-4324-913C-694CCE35180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761348" y="1659517"/>
            <a:ext cx="1683281" cy="157741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latin typeface="+mj-lt"/>
              </a:defRPr>
            </a:lvl1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46" name="Text Placeholder 11">
            <a:extLst>
              <a:ext uri="{FF2B5EF4-FFF2-40B4-BE49-F238E27FC236}">
                <a16:creationId xmlns:a16="http://schemas.microsoft.com/office/drawing/2014/main" id="{089C68E1-FA14-4AD8-B642-29AF31BF561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844618" y="1659517"/>
            <a:ext cx="1683281" cy="157741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latin typeface="+mj-lt"/>
              </a:defRPr>
            </a:lvl1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47" name="Text Placeholder 11">
            <a:extLst>
              <a:ext uri="{FF2B5EF4-FFF2-40B4-BE49-F238E27FC236}">
                <a16:creationId xmlns:a16="http://schemas.microsoft.com/office/drawing/2014/main" id="{B4ED695E-B5CC-4269-9555-EECC483EAE2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966081" y="1658526"/>
            <a:ext cx="1683281" cy="157741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1400">
                <a:latin typeface="+mj-lt"/>
              </a:defRPr>
            </a:lvl1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48" name="Text Placeholder 11">
            <a:extLst>
              <a:ext uri="{FF2B5EF4-FFF2-40B4-BE49-F238E27FC236}">
                <a16:creationId xmlns:a16="http://schemas.microsoft.com/office/drawing/2014/main" id="{B6DEF11C-0D64-4853-8B03-D9D5BB02F69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002819" y="3987768"/>
            <a:ext cx="1186427" cy="35943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0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YEAR</a:t>
            </a:r>
            <a:endParaRPr lang="da-DK" dirty="0"/>
          </a:p>
        </p:txBody>
      </p:sp>
      <p:sp>
        <p:nvSpPr>
          <p:cNvPr id="49" name="Text Placeholder 11">
            <a:extLst>
              <a:ext uri="{FF2B5EF4-FFF2-40B4-BE49-F238E27FC236}">
                <a16:creationId xmlns:a16="http://schemas.microsoft.com/office/drawing/2014/main" id="{37C069A4-DD10-453D-BF6A-5184E83C3C6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47540" y="3170023"/>
            <a:ext cx="1186427" cy="32968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Verdana Pro Cond Light" panose="020B0306030504040204" pitchFamily="34" charset="0"/>
              <a:buNone/>
              <a:tabLst/>
              <a:defRPr lang="da-DK" sz="2000" kern="1200" dirty="0" smtClean="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+mn-cs"/>
              </a:defRPr>
            </a:lvl1pPr>
            <a:lvl5pPr marL="1828800" indent="0">
              <a:buNone/>
              <a:defRPr sz="16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Verdana Pro Cond Light" panose="020B0306030504040204" pitchFamily="34" charset="0"/>
              <a:buNone/>
              <a:tabLst/>
              <a:defRPr/>
            </a:pPr>
            <a:r>
              <a:rPr lang="en-US" dirty="0"/>
              <a:t>YEAR</a:t>
            </a:r>
            <a:endParaRPr lang="da-DK" dirty="0"/>
          </a:p>
          <a:p>
            <a:pPr lvl="0"/>
            <a:endParaRPr lang="da-DK" dirty="0"/>
          </a:p>
        </p:txBody>
      </p:sp>
      <p:sp>
        <p:nvSpPr>
          <p:cNvPr id="50" name="Text Placeholder 11">
            <a:extLst>
              <a:ext uri="{FF2B5EF4-FFF2-40B4-BE49-F238E27FC236}">
                <a16:creationId xmlns:a16="http://schemas.microsoft.com/office/drawing/2014/main" id="{FE20E936-F3F5-45CE-82F2-35FC2F4EA01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098870" y="3987768"/>
            <a:ext cx="1186427" cy="359432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Verdana Pro Cond Light" panose="020B0306030504040204" pitchFamily="34" charset="0"/>
              <a:buNone/>
              <a:tabLst/>
              <a:defRPr sz="20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5pPr marL="1828800" indent="0">
              <a:buNone/>
              <a:defRPr sz="16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Verdana Pro Cond Light" panose="020B0306030504040204" pitchFamily="34" charset="0"/>
              <a:buNone/>
              <a:tabLst/>
              <a:defRPr/>
            </a:pPr>
            <a:r>
              <a:rPr lang="en-US" dirty="0"/>
              <a:t>YEAR</a:t>
            </a:r>
            <a:endParaRPr lang="da-DK" dirty="0"/>
          </a:p>
          <a:p>
            <a:pPr lvl="0"/>
            <a:endParaRPr lang="da-DK" dirty="0"/>
          </a:p>
        </p:txBody>
      </p:sp>
      <p:sp>
        <p:nvSpPr>
          <p:cNvPr id="51" name="Text Placeholder 11">
            <a:extLst>
              <a:ext uri="{FF2B5EF4-FFF2-40B4-BE49-F238E27FC236}">
                <a16:creationId xmlns:a16="http://schemas.microsoft.com/office/drawing/2014/main" id="{7625BD09-3203-4652-BD7F-CEF9F5F96F2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669003" y="3170022"/>
            <a:ext cx="1186427" cy="32968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Verdana Pro Cond Light" panose="020B0306030504040204" pitchFamily="34" charset="0"/>
              <a:buNone/>
              <a:tabLst/>
              <a:defRPr sz="20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5pPr marL="1828800" indent="0">
              <a:buNone/>
              <a:defRPr sz="16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Verdana Pro Cond Light" panose="020B0306030504040204" pitchFamily="34" charset="0"/>
              <a:buNone/>
              <a:tabLst/>
              <a:defRPr/>
            </a:pPr>
            <a:r>
              <a:rPr lang="en-US" dirty="0"/>
              <a:t>YEAR</a:t>
            </a:r>
            <a:endParaRPr lang="da-DK" dirty="0"/>
          </a:p>
          <a:p>
            <a:pPr lvl="0"/>
            <a:endParaRPr lang="da-DK" dirty="0"/>
          </a:p>
        </p:txBody>
      </p:sp>
      <p:sp>
        <p:nvSpPr>
          <p:cNvPr id="52" name="Text Placeholder 11">
            <a:extLst>
              <a:ext uri="{FF2B5EF4-FFF2-40B4-BE49-F238E27FC236}">
                <a16:creationId xmlns:a16="http://schemas.microsoft.com/office/drawing/2014/main" id="{A2E283F7-DC27-453F-AB66-46C8E65B9AB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14509" y="3987768"/>
            <a:ext cx="1186427" cy="359432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Verdana Pro Cond Light" panose="020B0306030504040204" pitchFamily="34" charset="0"/>
              <a:buNone/>
              <a:tabLst/>
              <a:defRPr sz="20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5pPr marL="1828800" indent="0">
              <a:buNone/>
              <a:defRPr sz="16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Verdana Pro Cond Light" panose="020B0306030504040204" pitchFamily="34" charset="0"/>
              <a:buNone/>
              <a:tabLst/>
              <a:defRPr/>
            </a:pPr>
            <a:r>
              <a:rPr lang="en-US" dirty="0"/>
              <a:t>YEAR</a:t>
            </a:r>
            <a:endParaRPr lang="da-DK" dirty="0"/>
          </a:p>
          <a:p>
            <a:pPr lvl="0"/>
            <a:endParaRPr lang="da-DK" dirty="0"/>
          </a:p>
        </p:txBody>
      </p:sp>
      <p:sp>
        <p:nvSpPr>
          <p:cNvPr id="36" name="Title Placeholder 1">
            <a:extLst>
              <a:ext uri="{FF2B5EF4-FFF2-40B4-BE49-F238E27FC236}">
                <a16:creationId xmlns:a16="http://schemas.microsoft.com/office/drawing/2014/main" id="{5CD14FE5-4515-42DB-BF78-8E40B70B18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37118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/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53" name="Footer Placeholder 4">
            <a:extLst>
              <a:ext uri="{FF2B5EF4-FFF2-40B4-BE49-F238E27FC236}">
                <a16:creationId xmlns:a16="http://schemas.microsoft.com/office/drawing/2014/main" id="{C873D042-86FC-4DD7-8659-3E8B16BC106C}"/>
              </a:ext>
            </a:extLst>
          </p:cNvPr>
          <p:cNvSpPr txBox="1">
            <a:spLocks/>
          </p:cNvSpPr>
          <p:nvPr/>
        </p:nvSpPr>
        <p:spPr>
          <a:xfrm>
            <a:off x="10762637" y="6339507"/>
            <a:ext cx="1069963" cy="341053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32" name="Slide Number Placeholder 5">
            <a:extLst>
              <a:ext uri="{FF2B5EF4-FFF2-40B4-BE49-F238E27FC236}">
                <a16:creationId xmlns:a16="http://schemas.microsoft.com/office/drawing/2014/main" id="{62D76354-693F-4135-9AFE-6BF70C26F8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0" name="Footer Placeholder 4">
            <a:extLst>
              <a:ext uri="{FF2B5EF4-FFF2-40B4-BE49-F238E27FC236}">
                <a16:creationId xmlns:a16="http://schemas.microsoft.com/office/drawing/2014/main" id="{CEBFCAAE-C706-4C06-9505-752D0681773B}"/>
              </a:ext>
            </a:extLst>
          </p:cNvPr>
          <p:cNvSpPr txBox="1">
            <a:spLocks/>
          </p:cNvSpPr>
          <p:nvPr userDrawn="1"/>
        </p:nvSpPr>
        <p:spPr>
          <a:xfrm>
            <a:off x="10762637" y="6339507"/>
            <a:ext cx="1069963" cy="341053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2181021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teps/Fas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>
            <a:extLst>
              <a:ext uri="{FF2B5EF4-FFF2-40B4-BE49-F238E27FC236}">
                <a16:creationId xmlns:a16="http://schemas.microsoft.com/office/drawing/2014/main" id="{23A00839-FB20-42CA-A14D-C7B380E18C9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8150" y="1001374"/>
            <a:ext cx="11394450" cy="369332"/>
          </a:xfrm>
          <a:prstGeom prst="rect">
            <a:avLst/>
          </a:prstGeom>
        </p:spPr>
        <p:txBody>
          <a:bodyPr wrap="square" lIns="72000" tIns="36000" rIns="72000" bIns="36000">
            <a:no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9pPr>
          </a:lstStyle>
          <a:p>
            <a:r>
              <a:rPr lang="en-US" dirty="0"/>
              <a:t>Click to edit subtitle</a:t>
            </a:r>
          </a:p>
        </p:txBody>
      </p:sp>
      <p:sp>
        <p:nvSpPr>
          <p:cNvPr id="37" name="Rectangle 1">
            <a:extLst>
              <a:ext uri="{FF2B5EF4-FFF2-40B4-BE49-F238E27FC236}">
                <a16:creationId xmlns:a16="http://schemas.microsoft.com/office/drawing/2014/main" id="{454D4296-DE79-4E2A-BCC0-3ADDB1C861D0}"/>
              </a:ext>
            </a:extLst>
          </p:cNvPr>
          <p:cNvSpPr>
            <a:spLocks/>
          </p:cNvSpPr>
          <p:nvPr/>
        </p:nvSpPr>
        <p:spPr bwMode="auto">
          <a:xfrm>
            <a:off x="617937" y="4646778"/>
            <a:ext cx="2586723" cy="1559642"/>
          </a:xfrm>
          <a:prstGeom prst="rect">
            <a:avLst/>
          </a:prstGeom>
          <a:solidFill>
            <a:schemeClr val="accent1"/>
          </a:solidFill>
          <a:ln w="2540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endParaRPr lang="en-US" sz="2799" dirty="0">
              <a:latin typeface="Lato Regular" charset="0"/>
            </a:endParaRPr>
          </a:p>
        </p:txBody>
      </p:sp>
      <p:sp>
        <p:nvSpPr>
          <p:cNvPr id="38" name="Freeform 2">
            <a:extLst>
              <a:ext uri="{FF2B5EF4-FFF2-40B4-BE49-F238E27FC236}">
                <a16:creationId xmlns:a16="http://schemas.microsoft.com/office/drawing/2014/main" id="{DE85CC72-31D9-4FB4-A53F-2DB99D1230B4}"/>
              </a:ext>
            </a:extLst>
          </p:cNvPr>
          <p:cNvSpPr>
            <a:spLocks/>
          </p:cNvSpPr>
          <p:nvPr/>
        </p:nvSpPr>
        <p:spPr bwMode="auto">
          <a:xfrm>
            <a:off x="2498476" y="5496594"/>
            <a:ext cx="710081" cy="716421"/>
          </a:xfrm>
          <a:custGeom>
            <a:avLst/>
            <a:gdLst>
              <a:gd name="T0" fmla="*/ 0 w 21600"/>
              <a:gd name="T1" fmla="*/ 0 h 21600"/>
              <a:gd name="T2" fmla="*/ 1422400 w 21600"/>
              <a:gd name="T3" fmla="*/ 0 h 21600"/>
              <a:gd name="T4" fmla="*/ 1422400 w 21600"/>
              <a:gd name="T5" fmla="*/ 1435100 h 21600"/>
              <a:gd name="T6" fmla="*/ 0 w 21600"/>
              <a:gd name="T7" fmla="*/ 0 h 21600"/>
              <a:gd name="T8" fmla="*/ 0 w 21600"/>
              <a:gd name="T9" fmla="*/ 0 h 216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21600" y="0"/>
                </a:lnTo>
                <a:lnTo>
                  <a:pt x="21600" y="21600"/>
                </a:lnTo>
                <a:lnTo>
                  <a:pt x="0" y="0"/>
                </a:lnTo>
                <a:close/>
                <a:moveTo>
                  <a:pt x="0" y="0"/>
                </a:moveTo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 sz="2799" dirty="0">
              <a:latin typeface="Lato Regular" charset="0"/>
            </a:endParaRPr>
          </a:p>
        </p:txBody>
      </p:sp>
      <p:sp>
        <p:nvSpPr>
          <p:cNvPr id="39" name="Isosceles Triangle 13">
            <a:extLst>
              <a:ext uri="{FF2B5EF4-FFF2-40B4-BE49-F238E27FC236}">
                <a16:creationId xmlns:a16="http://schemas.microsoft.com/office/drawing/2014/main" id="{50B33FB1-08C2-4A81-8E4C-371CC068BFB7}"/>
              </a:ext>
            </a:extLst>
          </p:cNvPr>
          <p:cNvSpPr/>
          <p:nvPr/>
        </p:nvSpPr>
        <p:spPr>
          <a:xfrm>
            <a:off x="2205672" y="4349975"/>
            <a:ext cx="254809" cy="254809"/>
          </a:xfrm>
          <a:prstGeom prst="triangle">
            <a:avLst>
              <a:gd name="adj" fmla="val 10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4">
              <a:hueOff val="651056"/>
              <a:satOff val="-5209"/>
              <a:lumOff val="-1814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40" name="Rectangle 4">
            <a:extLst>
              <a:ext uri="{FF2B5EF4-FFF2-40B4-BE49-F238E27FC236}">
                <a16:creationId xmlns:a16="http://schemas.microsoft.com/office/drawing/2014/main" id="{D77D49D3-317A-4DC3-B752-6897144AC6C1}"/>
              </a:ext>
            </a:extLst>
          </p:cNvPr>
          <p:cNvSpPr>
            <a:spLocks/>
          </p:cNvSpPr>
          <p:nvPr/>
        </p:nvSpPr>
        <p:spPr bwMode="auto">
          <a:xfrm>
            <a:off x="2498476" y="3937221"/>
            <a:ext cx="2586723" cy="1559642"/>
          </a:xfrm>
          <a:prstGeom prst="rect">
            <a:avLst/>
          </a:prstGeom>
          <a:solidFill>
            <a:schemeClr val="accent2"/>
          </a:solidFill>
          <a:ln w="2540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endParaRPr lang="en-US" sz="2799" dirty="0">
              <a:latin typeface="Lato Regular" charset="0"/>
            </a:endParaRPr>
          </a:p>
        </p:txBody>
      </p:sp>
      <p:sp>
        <p:nvSpPr>
          <p:cNvPr id="57" name="Freeform 2">
            <a:extLst>
              <a:ext uri="{FF2B5EF4-FFF2-40B4-BE49-F238E27FC236}">
                <a16:creationId xmlns:a16="http://schemas.microsoft.com/office/drawing/2014/main" id="{457386D2-97D5-4068-BBB2-8A17958BC3B2}"/>
              </a:ext>
            </a:extLst>
          </p:cNvPr>
          <p:cNvSpPr>
            <a:spLocks/>
          </p:cNvSpPr>
          <p:nvPr/>
        </p:nvSpPr>
        <p:spPr bwMode="auto">
          <a:xfrm>
            <a:off x="4375118" y="4777010"/>
            <a:ext cx="710081" cy="716421"/>
          </a:xfrm>
          <a:custGeom>
            <a:avLst/>
            <a:gdLst>
              <a:gd name="T0" fmla="*/ 0 w 21600"/>
              <a:gd name="T1" fmla="*/ 0 h 21600"/>
              <a:gd name="T2" fmla="*/ 1422400 w 21600"/>
              <a:gd name="T3" fmla="*/ 0 h 21600"/>
              <a:gd name="T4" fmla="*/ 1422400 w 21600"/>
              <a:gd name="T5" fmla="*/ 1435100 h 21600"/>
              <a:gd name="T6" fmla="*/ 0 w 21600"/>
              <a:gd name="T7" fmla="*/ 0 h 21600"/>
              <a:gd name="T8" fmla="*/ 0 w 21600"/>
              <a:gd name="T9" fmla="*/ 0 h 216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21600" y="0"/>
                </a:lnTo>
                <a:lnTo>
                  <a:pt x="21600" y="21600"/>
                </a:lnTo>
                <a:lnTo>
                  <a:pt x="0" y="0"/>
                </a:lnTo>
                <a:close/>
                <a:moveTo>
                  <a:pt x="0" y="0"/>
                </a:moveTo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 sz="2799" dirty="0">
              <a:latin typeface="Lato Regular" charset="0"/>
            </a:endParaRPr>
          </a:p>
        </p:txBody>
      </p:sp>
      <p:sp>
        <p:nvSpPr>
          <p:cNvPr id="58" name="Isosceles Triangle 13">
            <a:extLst>
              <a:ext uri="{FF2B5EF4-FFF2-40B4-BE49-F238E27FC236}">
                <a16:creationId xmlns:a16="http://schemas.microsoft.com/office/drawing/2014/main" id="{FC1669B0-5A62-4DDF-8C43-1BFBA928F847}"/>
              </a:ext>
            </a:extLst>
          </p:cNvPr>
          <p:cNvSpPr/>
          <p:nvPr/>
        </p:nvSpPr>
        <p:spPr>
          <a:xfrm>
            <a:off x="4093482" y="3636558"/>
            <a:ext cx="254809" cy="254809"/>
          </a:xfrm>
          <a:prstGeom prst="triangle">
            <a:avLst>
              <a:gd name="adj" fmla="val 10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4">
              <a:hueOff val="651056"/>
              <a:satOff val="-5209"/>
              <a:lumOff val="-1814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59" name="Rectangle 4">
            <a:extLst>
              <a:ext uri="{FF2B5EF4-FFF2-40B4-BE49-F238E27FC236}">
                <a16:creationId xmlns:a16="http://schemas.microsoft.com/office/drawing/2014/main" id="{4A011F1A-0FA5-4E66-925B-AFB790D1F8A2}"/>
              </a:ext>
            </a:extLst>
          </p:cNvPr>
          <p:cNvSpPr>
            <a:spLocks/>
          </p:cNvSpPr>
          <p:nvPr/>
        </p:nvSpPr>
        <p:spPr bwMode="auto">
          <a:xfrm>
            <a:off x="4379015" y="3222989"/>
            <a:ext cx="2586723" cy="1559642"/>
          </a:xfrm>
          <a:prstGeom prst="rect">
            <a:avLst/>
          </a:prstGeom>
          <a:solidFill>
            <a:schemeClr val="accent3"/>
          </a:solidFill>
          <a:ln w="2540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endParaRPr lang="en-US" sz="2799" dirty="0">
              <a:latin typeface="Lato Regular" charset="0"/>
            </a:endParaRPr>
          </a:p>
        </p:txBody>
      </p:sp>
      <p:sp>
        <p:nvSpPr>
          <p:cNvPr id="60" name="Freeform 2">
            <a:extLst>
              <a:ext uri="{FF2B5EF4-FFF2-40B4-BE49-F238E27FC236}">
                <a16:creationId xmlns:a16="http://schemas.microsoft.com/office/drawing/2014/main" id="{E4E6E509-A2A3-45E5-AA73-C0C342C0530D}"/>
              </a:ext>
            </a:extLst>
          </p:cNvPr>
          <p:cNvSpPr>
            <a:spLocks/>
          </p:cNvSpPr>
          <p:nvPr/>
        </p:nvSpPr>
        <p:spPr bwMode="auto">
          <a:xfrm>
            <a:off x="6255657" y="4032477"/>
            <a:ext cx="710081" cy="716421"/>
          </a:xfrm>
          <a:custGeom>
            <a:avLst/>
            <a:gdLst>
              <a:gd name="T0" fmla="*/ 0 w 21600"/>
              <a:gd name="T1" fmla="*/ 0 h 21600"/>
              <a:gd name="T2" fmla="*/ 1422400 w 21600"/>
              <a:gd name="T3" fmla="*/ 0 h 21600"/>
              <a:gd name="T4" fmla="*/ 1422400 w 21600"/>
              <a:gd name="T5" fmla="*/ 1435100 h 21600"/>
              <a:gd name="T6" fmla="*/ 0 w 21600"/>
              <a:gd name="T7" fmla="*/ 0 h 21600"/>
              <a:gd name="T8" fmla="*/ 0 w 21600"/>
              <a:gd name="T9" fmla="*/ 0 h 216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21600" y="0"/>
                </a:lnTo>
                <a:lnTo>
                  <a:pt x="21600" y="21600"/>
                </a:lnTo>
                <a:lnTo>
                  <a:pt x="0" y="0"/>
                </a:lnTo>
                <a:close/>
                <a:moveTo>
                  <a:pt x="0" y="0"/>
                </a:moveTo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 sz="2799" dirty="0">
              <a:latin typeface="Lato Regular" charset="0"/>
            </a:endParaRPr>
          </a:p>
        </p:txBody>
      </p:sp>
      <p:sp>
        <p:nvSpPr>
          <p:cNvPr id="61" name="Isosceles Triangle 13">
            <a:extLst>
              <a:ext uri="{FF2B5EF4-FFF2-40B4-BE49-F238E27FC236}">
                <a16:creationId xmlns:a16="http://schemas.microsoft.com/office/drawing/2014/main" id="{FA6BC49C-CE66-4EDE-B634-BAFD9BCD9C06}"/>
              </a:ext>
            </a:extLst>
          </p:cNvPr>
          <p:cNvSpPr/>
          <p:nvPr/>
        </p:nvSpPr>
        <p:spPr>
          <a:xfrm>
            <a:off x="5952244" y="2924297"/>
            <a:ext cx="254809" cy="254809"/>
          </a:xfrm>
          <a:prstGeom prst="triangle">
            <a:avLst>
              <a:gd name="adj" fmla="val 10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4">
              <a:hueOff val="651056"/>
              <a:satOff val="-5209"/>
              <a:lumOff val="-1814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62" name="Rectangle 4">
            <a:extLst>
              <a:ext uri="{FF2B5EF4-FFF2-40B4-BE49-F238E27FC236}">
                <a16:creationId xmlns:a16="http://schemas.microsoft.com/office/drawing/2014/main" id="{D5ED9D00-3D77-4343-BFE3-D2844651DD47}"/>
              </a:ext>
            </a:extLst>
          </p:cNvPr>
          <p:cNvSpPr>
            <a:spLocks/>
          </p:cNvSpPr>
          <p:nvPr/>
        </p:nvSpPr>
        <p:spPr bwMode="auto">
          <a:xfrm>
            <a:off x="6259554" y="2482419"/>
            <a:ext cx="2586723" cy="1559642"/>
          </a:xfrm>
          <a:prstGeom prst="rect">
            <a:avLst/>
          </a:prstGeom>
          <a:solidFill>
            <a:schemeClr val="accent3"/>
          </a:solidFill>
          <a:ln w="2540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endParaRPr lang="en-US" sz="2799" dirty="0">
              <a:latin typeface="Lato Regular" charset="0"/>
            </a:endParaRPr>
          </a:p>
        </p:txBody>
      </p:sp>
      <p:sp>
        <p:nvSpPr>
          <p:cNvPr id="63" name="AutoShape 13">
            <a:extLst>
              <a:ext uri="{FF2B5EF4-FFF2-40B4-BE49-F238E27FC236}">
                <a16:creationId xmlns:a16="http://schemas.microsoft.com/office/drawing/2014/main" id="{B3F45C16-B4A2-444F-86A8-C0446007E780}"/>
              </a:ext>
            </a:extLst>
          </p:cNvPr>
          <p:cNvSpPr>
            <a:spLocks/>
          </p:cNvSpPr>
          <p:nvPr/>
        </p:nvSpPr>
        <p:spPr bwMode="auto">
          <a:xfrm>
            <a:off x="8136196" y="1441691"/>
            <a:ext cx="3207731" cy="2233956"/>
          </a:xfrm>
          <a:prstGeom prst="rightArrow">
            <a:avLst>
              <a:gd name="adj1" fmla="val 69463"/>
              <a:gd name="adj2" fmla="val 28319"/>
            </a:avLst>
          </a:prstGeom>
          <a:solidFill>
            <a:schemeClr val="accent5"/>
          </a:solidFill>
          <a:ln w="2540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endParaRPr lang="en-US" sz="2799" dirty="0">
              <a:latin typeface="Lato Regular" charset="0"/>
            </a:endParaRPr>
          </a:p>
        </p:txBody>
      </p:sp>
      <p:sp>
        <p:nvSpPr>
          <p:cNvPr id="64" name="Freeform 2">
            <a:extLst>
              <a:ext uri="{FF2B5EF4-FFF2-40B4-BE49-F238E27FC236}">
                <a16:creationId xmlns:a16="http://schemas.microsoft.com/office/drawing/2014/main" id="{028F1D75-2FD6-494E-8261-197AC4C45522}"/>
              </a:ext>
            </a:extLst>
          </p:cNvPr>
          <p:cNvSpPr>
            <a:spLocks/>
          </p:cNvSpPr>
          <p:nvPr/>
        </p:nvSpPr>
        <p:spPr bwMode="auto">
          <a:xfrm>
            <a:off x="8136196" y="3325640"/>
            <a:ext cx="710081" cy="716421"/>
          </a:xfrm>
          <a:custGeom>
            <a:avLst/>
            <a:gdLst>
              <a:gd name="T0" fmla="*/ 0 w 21600"/>
              <a:gd name="T1" fmla="*/ 0 h 21600"/>
              <a:gd name="T2" fmla="*/ 1422400 w 21600"/>
              <a:gd name="T3" fmla="*/ 0 h 21600"/>
              <a:gd name="T4" fmla="*/ 1422400 w 21600"/>
              <a:gd name="T5" fmla="*/ 1435100 h 21600"/>
              <a:gd name="T6" fmla="*/ 0 w 21600"/>
              <a:gd name="T7" fmla="*/ 0 h 21600"/>
              <a:gd name="T8" fmla="*/ 0 w 21600"/>
              <a:gd name="T9" fmla="*/ 0 h 216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21600" y="0"/>
                </a:lnTo>
                <a:lnTo>
                  <a:pt x="21600" y="21600"/>
                </a:lnTo>
                <a:lnTo>
                  <a:pt x="0" y="0"/>
                </a:lnTo>
                <a:close/>
                <a:moveTo>
                  <a:pt x="0" y="0"/>
                </a:moveTo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 sz="2799" dirty="0">
              <a:latin typeface="Lato Regular" charset="0"/>
            </a:endParaRPr>
          </a:p>
        </p:txBody>
      </p:sp>
      <p:sp>
        <p:nvSpPr>
          <p:cNvPr id="65" name="Isosceles Triangle 13">
            <a:extLst>
              <a:ext uri="{FF2B5EF4-FFF2-40B4-BE49-F238E27FC236}">
                <a16:creationId xmlns:a16="http://schemas.microsoft.com/office/drawing/2014/main" id="{FD130A91-BC11-43FC-AFFA-226E74139612}"/>
              </a:ext>
            </a:extLst>
          </p:cNvPr>
          <p:cNvSpPr/>
          <p:nvPr/>
        </p:nvSpPr>
        <p:spPr>
          <a:xfrm>
            <a:off x="7826972" y="2173969"/>
            <a:ext cx="254809" cy="254809"/>
          </a:xfrm>
          <a:prstGeom prst="triangle">
            <a:avLst>
              <a:gd name="adj" fmla="val 10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4">
              <a:hueOff val="651056"/>
              <a:satOff val="-5209"/>
              <a:lumOff val="-1814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49F6A3B-0977-44CF-8BDF-ED734B2D03B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9200" y="1638300"/>
            <a:ext cx="5171891" cy="1204876"/>
          </a:xfrm>
          <a:prstGeom prst="rect">
            <a:avLst/>
          </a:prstGeom>
          <a:ln w="19050">
            <a:solidFill>
              <a:schemeClr val="accent6"/>
            </a:solidFill>
          </a:ln>
        </p:spPr>
        <p:txBody>
          <a:bodyPr lIns="72000" tIns="36000" rIns="72000" bIns="36000"/>
          <a:lstStyle>
            <a:lvl1pPr marL="0" indent="0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DA1DB6C8-8A55-45FD-A084-53A0AAF06C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477" y="4646778"/>
            <a:ext cx="1836000" cy="1548000"/>
          </a:xfrm>
          <a:prstGeom prst="rect">
            <a:avLst/>
          </a:prstGeom>
        </p:spPr>
        <p:txBody>
          <a:bodyPr lIns="72000" tIns="36000" rIns="72000" bIns="36000"/>
          <a:lstStyle>
            <a:lvl1pPr marL="0" indent="0" algn="l">
              <a:buNone/>
              <a:defRPr sz="1600"/>
            </a:lvl1pPr>
          </a:lstStyle>
          <a:p>
            <a:pPr algn="l"/>
            <a:r>
              <a:rPr lang="en-US" sz="1800" dirty="0">
                <a:solidFill>
                  <a:schemeClr val="accent5"/>
                </a:solidFill>
                <a:latin typeface="+mn-lt"/>
                <a:ea typeface="Lato Regular" charset="0"/>
                <a:cs typeface="Lato Regular" charset="0"/>
              </a:rPr>
              <a:t>Click to add  step one</a:t>
            </a:r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ECB19207-FB81-4CC8-8729-7889B1BB716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06201" y="3950595"/>
            <a:ext cx="1836000" cy="1548000"/>
          </a:xfrm>
          <a:prstGeom prst="rect">
            <a:avLst/>
          </a:prstGeom>
        </p:spPr>
        <p:txBody>
          <a:bodyPr lIns="72000" tIns="36000" rIns="72000" bIns="36000"/>
          <a:lstStyle>
            <a:lvl1pPr marL="0" indent="0" algn="l">
              <a:buNone/>
              <a:defRPr sz="1600"/>
            </a:lvl1pPr>
          </a:lstStyle>
          <a:p>
            <a:pPr algn="l"/>
            <a:r>
              <a:rPr lang="en-US" sz="1800" dirty="0">
                <a:solidFill>
                  <a:schemeClr val="accent5"/>
                </a:solidFill>
                <a:latin typeface="+mn-lt"/>
                <a:ea typeface="Lato Regular" charset="0"/>
                <a:cs typeface="Lato Regular" charset="0"/>
              </a:rPr>
              <a:t>Click to add  step two</a:t>
            </a:r>
          </a:p>
        </p:txBody>
      </p:sp>
      <p:sp>
        <p:nvSpPr>
          <p:cNvPr id="36" name="Text Placeholder 10">
            <a:extLst>
              <a:ext uri="{FF2B5EF4-FFF2-40B4-BE49-F238E27FC236}">
                <a16:creationId xmlns:a16="http://schemas.microsoft.com/office/drawing/2014/main" id="{047B4116-81E0-4449-A611-A9C8B0FC07D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87883" y="3236347"/>
            <a:ext cx="1836000" cy="1548000"/>
          </a:xfrm>
          <a:prstGeom prst="rect">
            <a:avLst/>
          </a:prstGeom>
        </p:spPr>
        <p:txBody>
          <a:bodyPr lIns="72000" tIns="36000" rIns="72000" bIns="36000"/>
          <a:lstStyle>
            <a:lvl1pPr marL="0" indent="0" algn="l">
              <a:buNone/>
              <a:defRPr sz="1600">
                <a:solidFill>
                  <a:schemeClr val="accent5"/>
                </a:solidFill>
              </a:defRPr>
            </a:lvl1pPr>
          </a:lstStyle>
          <a:p>
            <a:pPr algn="l"/>
            <a:r>
              <a:rPr lang="en-US" sz="1800" dirty="0">
                <a:solidFill>
                  <a:schemeClr val="accent5"/>
                </a:solidFill>
                <a:latin typeface="+mn-lt"/>
                <a:ea typeface="Lato Regular" charset="0"/>
                <a:cs typeface="Lato Regular" charset="0"/>
              </a:rPr>
              <a:t>Click to add  step three</a:t>
            </a:r>
          </a:p>
        </p:txBody>
      </p:sp>
      <p:sp>
        <p:nvSpPr>
          <p:cNvPr id="41" name="Text Placeholder 10">
            <a:extLst>
              <a:ext uri="{FF2B5EF4-FFF2-40B4-BE49-F238E27FC236}">
                <a16:creationId xmlns:a16="http://schemas.microsoft.com/office/drawing/2014/main" id="{F00E0895-69B2-4098-B8AF-A87DB41372D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60604" y="2488240"/>
            <a:ext cx="1836000" cy="1548000"/>
          </a:xfrm>
          <a:prstGeom prst="rect">
            <a:avLst/>
          </a:prstGeom>
        </p:spPr>
        <p:txBody>
          <a:bodyPr lIns="72000" tIns="36000" rIns="72000" bIns="36000"/>
          <a:lstStyle>
            <a:lvl1pPr marL="0" indent="0" algn="l">
              <a:buNone/>
              <a:defRPr sz="1600">
                <a:solidFill>
                  <a:schemeClr val="accent5"/>
                </a:solidFill>
              </a:defRPr>
            </a:lvl1pPr>
          </a:lstStyle>
          <a:p>
            <a:pPr algn="l"/>
            <a:r>
              <a:rPr lang="en-US" sz="1800" dirty="0">
                <a:solidFill>
                  <a:schemeClr val="accent5"/>
                </a:solidFill>
                <a:latin typeface="+mn-lt"/>
                <a:ea typeface="Lato Regular" charset="0"/>
                <a:cs typeface="Lato Regular" charset="0"/>
              </a:rPr>
              <a:t>Click to add  step four</a:t>
            </a:r>
          </a:p>
        </p:txBody>
      </p:sp>
      <p:sp>
        <p:nvSpPr>
          <p:cNvPr id="42" name="Text Placeholder 10">
            <a:extLst>
              <a:ext uri="{FF2B5EF4-FFF2-40B4-BE49-F238E27FC236}">
                <a16:creationId xmlns:a16="http://schemas.microsoft.com/office/drawing/2014/main" id="{40D9E8E2-20C0-4A1A-BF6D-0B2788D96CA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36196" y="1784669"/>
            <a:ext cx="2406246" cy="1548000"/>
          </a:xfrm>
          <a:prstGeom prst="rect">
            <a:avLst/>
          </a:prstGeom>
        </p:spPr>
        <p:txBody>
          <a:bodyPr lIns="72000" tIns="36000" rIns="72000" bIns="36000"/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</a:lstStyle>
          <a:p>
            <a:pPr algn="l"/>
            <a:r>
              <a:rPr lang="en-US" sz="1800" dirty="0">
                <a:solidFill>
                  <a:schemeClr val="accent5"/>
                </a:solidFill>
                <a:latin typeface="+mn-lt"/>
                <a:ea typeface="Lato Regular" charset="0"/>
                <a:cs typeface="Lato Regular" charset="0"/>
              </a:rPr>
              <a:t>Click to add step five</a:t>
            </a:r>
          </a:p>
        </p:txBody>
      </p:sp>
      <p:sp>
        <p:nvSpPr>
          <p:cNvPr id="43" name="Title Placeholder 1">
            <a:extLst>
              <a:ext uri="{FF2B5EF4-FFF2-40B4-BE49-F238E27FC236}">
                <a16:creationId xmlns:a16="http://schemas.microsoft.com/office/drawing/2014/main" id="{6FA84DC4-0E76-4505-BB76-BDA71C8DC4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37118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/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44" name="Footer Placeholder 4">
            <a:extLst>
              <a:ext uri="{FF2B5EF4-FFF2-40B4-BE49-F238E27FC236}">
                <a16:creationId xmlns:a16="http://schemas.microsoft.com/office/drawing/2014/main" id="{AFECD0E4-1024-44AE-8E23-42280A9B65D5}"/>
              </a:ext>
            </a:extLst>
          </p:cNvPr>
          <p:cNvSpPr txBox="1">
            <a:spLocks/>
          </p:cNvSpPr>
          <p:nvPr/>
        </p:nvSpPr>
        <p:spPr>
          <a:xfrm>
            <a:off x="10762637" y="6339507"/>
            <a:ext cx="1069963" cy="341053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25" name="Slide Number Placeholder 5">
            <a:extLst>
              <a:ext uri="{FF2B5EF4-FFF2-40B4-BE49-F238E27FC236}">
                <a16:creationId xmlns:a16="http://schemas.microsoft.com/office/drawing/2014/main" id="{5CDA829A-ED52-43E9-BA64-55EFBD33D9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3781295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 on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Logo on top">
            <a:extLst>
              <a:ext uri="{FF2B5EF4-FFF2-40B4-BE49-F238E27FC236}">
                <a16:creationId xmlns:a16="http://schemas.microsoft.com/office/drawing/2014/main" id="{946C4B67-243B-42D4-B01A-C1E49052FDDD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0753200" y="6339600"/>
            <a:ext cx="1080000" cy="340069"/>
          </a:xfrm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FFFFFF"/>
          </a:solidFill>
        </p:spPr>
        <p:txBody>
          <a:bodyPr lIns="0" tIns="0" rIns="0" bIns="0"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EC47C98D-4FAF-4675-81FB-E5A7BA12D88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771711" y="1612682"/>
            <a:ext cx="3432299" cy="3432299"/>
          </a:xfrm>
          <a:custGeom>
            <a:avLst/>
            <a:gdLst>
              <a:gd name="connsiteX0" fmla="*/ 1716150 w 3432299"/>
              <a:gd name="connsiteY0" fmla="*/ 0 h 3432299"/>
              <a:gd name="connsiteX1" fmla="*/ 3432299 w 3432299"/>
              <a:gd name="connsiteY1" fmla="*/ 1716150 h 3432299"/>
              <a:gd name="connsiteX2" fmla="*/ 1716150 w 3432299"/>
              <a:gd name="connsiteY2" fmla="*/ 3432299 h 3432299"/>
              <a:gd name="connsiteX3" fmla="*/ 0 w 3432299"/>
              <a:gd name="connsiteY3" fmla="*/ 1716150 h 3432299"/>
              <a:gd name="connsiteX4" fmla="*/ 1716150 w 3432299"/>
              <a:gd name="connsiteY4" fmla="*/ 0 h 3432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32299" h="3432299">
                <a:moveTo>
                  <a:pt x="1716150" y="0"/>
                </a:moveTo>
                <a:cubicBezTo>
                  <a:pt x="2663953" y="0"/>
                  <a:pt x="3432299" y="768346"/>
                  <a:pt x="3432299" y="1716150"/>
                </a:cubicBezTo>
                <a:cubicBezTo>
                  <a:pt x="3432299" y="2663953"/>
                  <a:pt x="2663953" y="3432299"/>
                  <a:pt x="1716150" y="3432299"/>
                </a:cubicBezTo>
                <a:cubicBezTo>
                  <a:pt x="768346" y="3432299"/>
                  <a:pt x="0" y="2663953"/>
                  <a:pt x="0" y="1716150"/>
                </a:cubicBezTo>
                <a:cubicBezTo>
                  <a:pt x="0" y="768346"/>
                  <a:pt x="768346" y="0"/>
                  <a:pt x="171615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your</a:t>
            </a:r>
            <a:r>
              <a:rPr lang="da-DK" dirty="0"/>
              <a:t> </a:t>
            </a:r>
            <a:r>
              <a:rPr lang="da-DK" dirty="0" err="1"/>
              <a:t>profile</a:t>
            </a:r>
            <a:r>
              <a:rPr lang="da-DK" dirty="0"/>
              <a:t> </a:t>
            </a:r>
            <a:r>
              <a:rPr lang="da-DK" dirty="0" err="1"/>
              <a:t>photo</a:t>
            </a:r>
            <a:endParaRPr lang="da-DK" dirty="0"/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E74AD59E-A423-4B11-A9D8-860D9ED84A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36000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1EE3518A-31DE-4BA4-B16D-9E6E3BD2219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28694" y="1455773"/>
            <a:ext cx="5273589" cy="6197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Get in touch with us</a:t>
            </a:r>
          </a:p>
          <a:p>
            <a:pPr lvl="0"/>
            <a:endParaRPr lang="en-US" dirty="0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27196662-DAC2-4CA1-930C-3729480FED1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86616" y="2273621"/>
            <a:ext cx="4159909" cy="289931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br>
              <a:rPr lang="en-US" dirty="0"/>
            </a:br>
            <a:r>
              <a:rPr lang="en-US" dirty="0"/>
              <a:t>Title </a:t>
            </a:r>
            <a:br>
              <a:rPr lang="en-US" dirty="0"/>
            </a:br>
            <a:r>
              <a:rPr lang="en-US" dirty="0"/>
              <a:t>Area of expertise</a:t>
            </a:r>
            <a:br>
              <a:rPr lang="en-US" dirty="0"/>
            </a:br>
            <a:r>
              <a:rPr lang="en-US" dirty="0" err="1"/>
              <a:t>Email@dress</a:t>
            </a:r>
            <a:br>
              <a:rPr lang="en-US" dirty="0"/>
            </a:br>
            <a:r>
              <a:rPr lang="en-US" dirty="0"/>
              <a:t>Phone number</a:t>
            </a:r>
            <a:br>
              <a:rPr lang="en-US" dirty="0"/>
            </a:br>
            <a:br>
              <a:rPr lang="en-US" dirty="0"/>
            </a:br>
            <a:r>
              <a:rPr lang="en-US" dirty="0"/>
              <a:t>Country</a:t>
            </a:r>
            <a:br>
              <a:rPr lang="en-US" dirty="0"/>
            </a:br>
            <a:r>
              <a:rPr lang="en-US" dirty="0"/>
              <a:t>Office, </a:t>
            </a:r>
            <a:r>
              <a:rPr lang="en-US" dirty="0" err="1"/>
              <a:t>Adress</a:t>
            </a:r>
            <a:endParaRPr lang="en-US" dirty="0"/>
          </a:p>
        </p:txBody>
      </p:sp>
      <p:sp>
        <p:nvSpPr>
          <p:cNvPr id="9" name="Shape 2587">
            <a:extLst>
              <a:ext uri="{FF2B5EF4-FFF2-40B4-BE49-F238E27FC236}">
                <a16:creationId xmlns:a16="http://schemas.microsoft.com/office/drawing/2014/main" id="{432A4CED-5616-4E9A-B10E-D27920EBC843}"/>
              </a:ext>
            </a:extLst>
          </p:cNvPr>
          <p:cNvSpPr/>
          <p:nvPr/>
        </p:nvSpPr>
        <p:spPr>
          <a:xfrm>
            <a:off x="4887331" y="3448751"/>
            <a:ext cx="304875" cy="30487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281" y="19846"/>
                </a:moveTo>
                <a:lnTo>
                  <a:pt x="9413" y="12882"/>
                </a:lnTo>
                <a:lnTo>
                  <a:pt x="19655" y="2640"/>
                </a:lnTo>
                <a:cubicBezTo>
                  <a:pt x="19655" y="2640"/>
                  <a:pt x="12281" y="19846"/>
                  <a:pt x="12281" y="19846"/>
                </a:cubicBezTo>
                <a:close/>
                <a:moveTo>
                  <a:pt x="1755" y="9320"/>
                </a:moveTo>
                <a:lnTo>
                  <a:pt x="18960" y="1945"/>
                </a:lnTo>
                <a:lnTo>
                  <a:pt x="8719" y="12187"/>
                </a:lnTo>
                <a:cubicBezTo>
                  <a:pt x="8719" y="12187"/>
                  <a:pt x="1755" y="9320"/>
                  <a:pt x="1755" y="9320"/>
                </a:cubicBezTo>
                <a:close/>
                <a:moveTo>
                  <a:pt x="21600" y="491"/>
                </a:moveTo>
                <a:cubicBezTo>
                  <a:pt x="21600" y="220"/>
                  <a:pt x="21380" y="0"/>
                  <a:pt x="21109" y="0"/>
                </a:cubicBezTo>
                <a:cubicBezTo>
                  <a:pt x="21034" y="0"/>
                  <a:pt x="20964" y="20"/>
                  <a:pt x="20900" y="52"/>
                </a:cubicBezTo>
                <a:lnTo>
                  <a:pt x="20898" y="48"/>
                </a:lnTo>
                <a:lnTo>
                  <a:pt x="302" y="8875"/>
                </a:lnTo>
                <a:cubicBezTo>
                  <a:pt x="301" y="8875"/>
                  <a:pt x="299" y="8876"/>
                  <a:pt x="297" y="8877"/>
                </a:cubicBezTo>
                <a:lnTo>
                  <a:pt x="280" y="8885"/>
                </a:lnTo>
                <a:lnTo>
                  <a:pt x="281" y="8887"/>
                </a:lnTo>
                <a:cubicBezTo>
                  <a:pt x="116" y="8967"/>
                  <a:pt x="0" y="9132"/>
                  <a:pt x="0" y="9327"/>
                </a:cubicBezTo>
                <a:cubicBezTo>
                  <a:pt x="0" y="9550"/>
                  <a:pt x="151" y="9731"/>
                  <a:pt x="355" y="9791"/>
                </a:cubicBezTo>
                <a:lnTo>
                  <a:pt x="353" y="9799"/>
                </a:lnTo>
                <a:lnTo>
                  <a:pt x="8462" y="13138"/>
                </a:lnTo>
                <a:lnTo>
                  <a:pt x="11801" y="21248"/>
                </a:lnTo>
                <a:lnTo>
                  <a:pt x="11809" y="21245"/>
                </a:lnTo>
                <a:cubicBezTo>
                  <a:pt x="11869" y="21449"/>
                  <a:pt x="12050" y="21600"/>
                  <a:pt x="12273" y="21600"/>
                </a:cubicBezTo>
                <a:cubicBezTo>
                  <a:pt x="12468" y="21600"/>
                  <a:pt x="12634" y="21484"/>
                  <a:pt x="12713" y="21319"/>
                </a:cubicBezTo>
                <a:lnTo>
                  <a:pt x="12716" y="21320"/>
                </a:lnTo>
                <a:lnTo>
                  <a:pt x="12723" y="21303"/>
                </a:lnTo>
                <a:cubicBezTo>
                  <a:pt x="12724" y="21301"/>
                  <a:pt x="12725" y="21300"/>
                  <a:pt x="12725" y="21298"/>
                </a:cubicBezTo>
                <a:lnTo>
                  <a:pt x="21553" y="702"/>
                </a:lnTo>
                <a:lnTo>
                  <a:pt x="21547" y="699"/>
                </a:lnTo>
                <a:cubicBezTo>
                  <a:pt x="21578" y="636"/>
                  <a:pt x="21600" y="567"/>
                  <a:pt x="21600" y="491"/>
                </a:cubicBezTo>
                <a:moveTo>
                  <a:pt x="7855" y="16200"/>
                </a:moveTo>
                <a:cubicBezTo>
                  <a:pt x="7719" y="16200"/>
                  <a:pt x="7596" y="16255"/>
                  <a:pt x="7507" y="16344"/>
                </a:cubicBezTo>
                <a:lnTo>
                  <a:pt x="6035" y="17817"/>
                </a:lnTo>
                <a:cubicBezTo>
                  <a:pt x="5946" y="17905"/>
                  <a:pt x="5891" y="18029"/>
                  <a:pt x="5891" y="18164"/>
                </a:cubicBezTo>
                <a:cubicBezTo>
                  <a:pt x="5891" y="18435"/>
                  <a:pt x="6111" y="18655"/>
                  <a:pt x="6382" y="18655"/>
                </a:cubicBezTo>
                <a:cubicBezTo>
                  <a:pt x="6517" y="18655"/>
                  <a:pt x="6640" y="18600"/>
                  <a:pt x="6729" y="18511"/>
                </a:cubicBezTo>
                <a:lnTo>
                  <a:pt x="8202" y="17038"/>
                </a:lnTo>
                <a:cubicBezTo>
                  <a:pt x="8291" y="16950"/>
                  <a:pt x="8345" y="16827"/>
                  <a:pt x="8345" y="16691"/>
                </a:cubicBezTo>
                <a:cubicBezTo>
                  <a:pt x="8345" y="16420"/>
                  <a:pt x="8126" y="16200"/>
                  <a:pt x="7855" y="16200"/>
                </a:cubicBezTo>
                <a:moveTo>
                  <a:pt x="7855" y="14237"/>
                </a:moveTo>
                <a:cubicBezTo>
                  <a:pt x="7855" y="13966"/>
                  <a:pt x="7635" y="13745"/>
                  <a:pt x="7364" y="13745"/>
                </a:cubicBezTo>
                <a:cubicBezTo>
                  <a:pt x="7228" y="13745"/>
                  <a:pt x="7105" y="13801"/>
                  <a:pt x="7017" y="13889"/>
                </a:cubicBezTo>
                <a:lnTo>
                  <a:pt x="2107" y="18798"/>
                </a:lnTo>
                <a:cubicBezTo>
                  <a:pt x="2019" y="18888"/>
                  <a:pt x="1964" y="19011"/>
                  <a:pt x="1964" y="19145"/>
                </a:cubicBezTo>
                <a:cubicBezTo>
                  <a:pt x="1964" y="19417"/>
                  <a:pt x="2184" y="19636"/>
                  <a:pt x="2455" y="19636"/>
                </a:cubicBezTo>
                <a:cubicBezTo>
                  <a:pt x="2590" y="19636"/>
                  <a:pt x="2713" y="19582"/>
                  <a:pt x="2802" y="19493"/>
                </a:cubicBezTo>
                <a:lnTo>
                  <a:pt x="7711" y="14583"/>
                </a:lnTo>
                <a:cubicBezTo>
                  <a:pt x="7800" y="14495"/>
                  <a:pt x="7855" y="14372"/>
                  <a:pt x="7855" y="14237"/>
                </a:cubicBezTo>
                <a:moveTo>
                  <a:pt x="4765" y="14583"/>
                </a:moveTo>
                <a:lnTo>
                  <a:pt x="5256" y="14093"/>
                </a:lnTo>
                <a:cubicBezTo>
                  <a:pt x="5345" y="14004"/>
                  <a:pt x="5400" y="13881"/>
                  <a:pt x="5400" y="13745"/>
                </a:cubicBezTo>
                <a:cubicBezTo>
                  <a:pt x="5400" y="13475"/>
                  <a:pt x="5180" y="13255"/>
                  <a:pt x="4909" y="13255"/>
                </a:cubicBezTo>
                <a:cubicBezTo>
                  <a:pt x="4774" y="13255"/>
                  <a:pt x="4651" y="13310"/>
                  <a:pt x="4562" y="13398"/>
                </a:cubicBezTo>
                <a:lnTo>
                  <a:pt x="4071" y="13889"/>
                </a:lnTo>
                <a:cubicBezTo>
                  <a:pt x="3982" y="13979"/>
                  <a:pt x="3927" y="14101"/>
                  <a:pt x="3927" y="14237"/>
                </a:cubicBezTo>
                <a:cubicBezTo>
                  <a:pt x="3927" y="14507"/>
                  <a:pt x="4147" y="14727"/>
                  <a:pt x="4418" y="14727"/>
                </a:cubicBezTo>
                <a:cubicBezTo>
                  <a:pt x="4554" y="14727"/>
                  <a:pt x="4676" y="14673"/>
                  <a:pt x="4765" y="14583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10" name="Shape 2628">
            <a:extLst>
              <a:ext uri="{FF2B5EF4-FFF2-40B4-BE49-F238E27FC236}">
                <a16:creationId xmlns:a16="http://schemas.microsoft.com/office/drawing/2014/main" id="{A8FF3624-6D73-4863-97BD-8A36DBA409C3}"/>
              </a:ext>
            </a:extLst>
          </p:cNvPr>
          <p:cNvSpPr/>
          <p:nvPr/>
        </p:nvSpPr>
        <p:spPr>
          <a:xfrm>
            <a:off x="6904403" y="3753626"/>
            <a:ext cx="261569" cy="29267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445" y="20618"/>
                </a:moveTo>
                <a:cubicBezTo>
                  <a:pt x="15830" y="20618"/>
                  <a:pt x="15230" y="20482"/>
                  <a:pt x="14664" y="20214"/>
                </a:cubicBezTo>
                <a:cubicBezTo>
                  <a:pt x="14611" y="20189"/>
                  <a:pt x="14556" y="20170"/>
                  <a:pt x="14501" y="20155"/>
                </a:cubicBezTo>
                <a:cubicBezTo>
                  <a:pt x="8920" y="17308"/>
                  <a:pt x="4296" y="12685"/>
                  <a:pt x="1448" y="7105"/>
                </a:cubicBezTo>
                <a:cubicBezTo>
                  <a:pt x="1432" y="7048"/>
                  <a:pt x="1412" y="6991"/>
                  <a:pt x="1386" y="6936"/>
                </a:cubicBezTo>
                <a:cubicBezTo>
                  <a:pt x="1118" y="6369"/>
                  <a:pt x="982" y="5770"/>
                  <a:pt x="982" y="5155"/>
                </a:cubicBezTo>
                <a:cubicBezTo>
                  <a:pt x="982" y="2774"/>
                  <a:pt x="3067" y="982"/>
                  <a:pt x="4418" y="982"/>
                </a:cubicBezTo>
                <a:cubicBezTo>
                  <a:pt x="4595" y="982"/>
                  <a:pt x="4712" y="1072"/>
                  <a:pt x="4765" y="1126"/>
                </a:cubicBezTo>
                <a:cubicBezTo>
                  <a:pt x="4777" y="1139"/>
                  <a:pt x="4800" y="1164"/>
                  <a:pt x="4832" y="1216"/>
                </a:cubicBezTo>
                <a:cubicBezTo>
                  <a:pt x="4849" y="1244"/>
                  <a:pt x="4868" y="1271"/>
                  <a:pt x="4888" y="1297"/>
                </a:cubicBezTo>
                <a:lnTo>
                  <a:pt x="8121" y="5453"/>
                </a:lnTo>
                <a:cubicBezTo>
                  <a:pt x="8146" y="5485"/>
                  <a:pt x="8173" y="5515"/>
                  <a:pt x="8202" y="5544"/>
                </a:cubicBezTo>
                <a:cubicBezTo>
                  <a:pt x="8255" y="5598"/>
                  <a:pt x="8345" y="5715"/>
                  <a:pt x="8345" y="5891"/>
                </a:cubicBezTo>
                <a:cubicBezTo>
                  <a:pt x="8345" y="5978"/>
                  <a:pt x="8321" y="6060"/>
                  <a:pt x="8274" y="6135"/>
                </a:cubicBezTo>
                <a:lnTo>
                  <a:pt x="7180" y="7221"/>
                </a:lnTo>
                <a:cubicBezTo>
                  <a:pt x="7175" y="7226"/>
                  <a:pt x="7170" y="7231"/>
                  <a:pt x="7165" y="7236"/>
                </a:cubicBezTo>
                <a:cubicBezTo>
                  <a:pt x="6769" y="7609"/>
                  <a:pt x="6543" y="8126"/>
                  <a:pt x="6543" y="8668"/>
                </a:cubicBezTo>
                <a:cubicBezTo>
                  <a:pt x="6543" y="9175"/>
                  <a:pt x="6740" y="9658"/>
                  <a:pt x="7082" y="10020"/>
                </a:cubicBezTo>
                <a:cubicBezTo>
                  <a:pt x="7094" y="10040"/>
                  <a:pt x="7107" y="10059"/>
                  <a:pt x="7121" y="10078"/>
                </a:cubicBezTo>
                <a:cubicBezTo>
                  <a:pt x="8327" y="11745"/>
                  <a:pt x="9810" y="13222"/>
                  <a:pt x="11528" y="14469"/>
                </a:cubicBezTo>
                <a:cubicBezTo>
                  <a:pt x="11541" y="14478"/>
                  <a:pt x="11555" y="14487"/>
                  <a:pt x="11568" y="14496"/>
                </a:cubicBezTo>
                <a:cubicBezTo>
                  <a:pt x="11931" y="14844"/>
                  <a:pt x="12418" y="15045"/>
                  <a:pt x="12928" y="15045"/>
                </a:cubicBezTo>
                <a:cubicBezTo>
                  <a:pt x="13440" y="15045"/>
                  <a:pt x="13934" y="14840"/>
                  <a:pt x="14301" y="14479"/>
                </a:cubicBezTo>
                <a:cubicBezTo>
                  <a:pt x="14320" y="14463"/>
                  <a:pt x="14338" y="14446"/>
                  <a:pt x="14356" y="14427"/>
                </a:cubicBezTo>
                <a:lnTo>
                  <a:pt x="15456" y="13320"/>
                </a:lnTo>
                <a:cubicBezTo>
                  <a:pt x="15533" y="13271"/>
                  <a:pt x="15615" y="13247"/>
                  <a:pt x="15701" y="13247"/>
                </a:cubicBezTo>
                <a:cubicBezTo>
                  <a:pt x="15878" y="13247"/>
                  <a:pt x="15995" y="13337"/>
                  <a:pt x="16048" y="13391"/>
                </a:cubicBezTo>
                <a:cubicBezTo>
                  <a:pt x="16077" y="13420"/>
                  <a:pt x="16108" y="13447"/>
                  <a:pt x="16140" y="13472"/>
                </a:cubicBezTo>
                <a:lnTo>
                  <a:pt x="20296" y="16704"/>
                </a:lnTo>
                <a:cubicBezTo>
                  <a:pt x="20323" y="16725"/>
                  <a:pt x="20351" y="16744"/>
                  <a:pt x="20379" y="16762"/>
                </a:cubicBezTo>
                <a:cubicBezTo>
                  <a:pt x="20431" y="16795"/>
                  <a:pt x="20455" y="16816"/>
                  <a:pt x="20466" y="16827"/>
                </a:cubicBezTo>
                <a:cubicBezTo>
                  <a:pt x="20520" y="16881"/>
                  <a:pt x="20610" y="16997"/>
                  <a:pt x="20610" y="17174"/>
                </a:cubicBezTo>
                <a:cubicBezTo>
                  <a:pt x="20610" y="17207"/>
                  <a:pt x="20612" y="17240"/>
                  <a:pt x="20616" y="17273"/>
                </a:cubicBezTo>
                <a:cubicBezTo>
                  <a:pt x="20539" y="18625"/>
                  <a:pt x="18774" y="20618"/>
                  <a:pt x="16445" y="20618"/>
                </a:cubicBezTo>
                <a:moveTo>
                  <a:pt x="21600" y="17174"/>
                </a:moveTo>
                <a:lnTo>
                  <a:pt x="21592" y="17174"/>
                </a:lnTo>
                <a:cubicBezTo>
                  <a:pt x="21592" y="16768"/>
                  <a:pt x="21427" y="16399"/>
                  <a:pt x="21161" y="16133"/>
                </a:cubicBezTo>
                <a:cubicBezTo>
                  <a:pt x="21082" y="16054"/>
                  <a:pt x="20994" y="15988"/>
                  <a:pt x="20899" y="15929"/>
                </a:cubicBezTo>
                <a:lnTo>
                  <a:pt x="16743" y="12697"/>
                </a:lnTo>
                <a:cubicBezTo>
                  <a:pt x="16476" y="12430"/>
                  <a:pt x="16108" y="12265"/>
                  <a:pt x="15701" y="12265"/>
                </a:cubicBezTo>
                <a:cubicBezTo>
                  <a:pt x="15368" y="12265"/>
                  <a:pt x="15065" y="12380"/>
                  <a:pt x="14819" y="12567"/>
                </a:cubicBezTo>
                <a:lnTo>
                  <a:pt x="13659" y="13736"/>
                </a:lnTo>
                <a:lnTo>
                  <a:pt x="13656" y="13733"/>
                </a:lnTo>
                <a:cubicBezTo>
                  <a:pt x="13477" y="13934"/>
                  <a:pt x="13218" y="14063"/>
                  <a:pt x="12928" y="14063"/>
                </a:cubicBezTo>
                <a:cubicBezTo>
                  <a:pt x="12595" y="14063"/>
                  <a:pt x="12303" y="13897"/>
                  <a:pt x="12125" y="13645"/>
                </a:cubicBezTo>
                <a:cubicBezTo>
                  <a:pt x="12119" y="13654"/>
                  <a:pt x="12111" y="13663"/>
                  <a:pt x="12104" y="13674"/>
                </a:cubicBezTo>
                <a:cubicBezTo>
                  <a:pt x="10500" y="12510"/>
                  <a:pt x="9078" y="11108"/>
                  <a:pt x="7916" y="9502"/>
                </a:cubicBezTo>
                <a:cubicBezTo>
                  <a:pt x="7927" y="9495"/>
                  <a:pt x="7937" y="9486"/>
                  <a:pt x="7949" y="9479"/>
                </a:cubicBezTo>
                <a:cubicBezTo>
                  <a:pt x="7693" y="9299"/>
                  <a:pt x="7525" y="9004"/>
                  <a:pt x="7525" y="8668"/>
                </a:cubicBezTo>
                <a:cubicBezTo>
                  <a:pt x="7525" y="8367"/>
                  <a:pt x="7662" y="8101"/>
                  <a:pt x="7873" y="7920"/>
                </a:cubicBezTo>
                <a:lnTo>
                  <a:pt x="7872" y="7918"/>
                </a:lnTo>
                <a:lnTo>
                  <a:pt x="9026" y="6773"/>
                </a:lnTo>
                <a:cubicBezTo>
                  <a:pt x="9213" y="6528"/>
                  <a:pt x="9327" y="6224"/>
                  <a:pt x="9327" y="5891"/>
                </a:cubicBezTo>
                <a:cubicBezTo>
                  <a:pt x="9327" y="5485"/>
                  <a:pt x="9162" y="5116"/>
                  <a:pt x="8896" y="4850"/>
                </a:cubicBezTo>
                <a:lnTo>
                  <a:pt x="5663" y="693"/>
                </a:lnTo>
                <a:cubicBezTo>
                  <a:pt x="5604" y="599"/>
                  <a:pt x="5538" y="510"/>
                  <a:pt x="5459" y="432"/>
                </a:cubicBezTo>
                <a:cubicBezTo>
                  <a:pt x="5193" y="165"/>
                  <a:pt x="4825" y="0"/>
                  <a:pt x="4418" y="0"/>
                </a:cubicBezTo>
                <a:cubicBezTo>
                  <a:pt x="2455" y="0"/>
                  <a:pt x="0" y="2308"/>
                  <a:pt x="0" y="5155"/>
                </a:cubicBezTo>
                <a:cubicBezTo>
                  <a:pt x="0" y="5943"/>
                  <a:pt x="183" y="6688"/>
                  <a:pt x="499" y="7356"/>
                </a:cubicBezTo>
                <a:lnTo>
                  <a:pt x="483" y="7373"/>
                </a:lnTo>
                <a:cubicBezTo>
                  <a:pt x="3436" y="13255"/>
                  <a:pt x="8345" y="18164"/>
                  <a:pt x="14228" y="21117"/>
                </a:cubicBezTo>
                <a:lnTo>
                  <a:pt x="14244" y="21101"/>
                </a:lnTo>
                <a:cubicBezTo>
                  <a:pt x="14912" y="21418"/>
                  <a:pt x="15657" y="21600"/>
                  <a:pt x="16445" y="21600"/>
                </a:cubicBezTo>
                <a:cubicBezTo>
                  <a:pt x="19292" y="21600"/>
                  <a:pt x="21600" y="19145"/>
                  <a:pt x="21600" y="17182"/>
                </a:cubicBezTo>
                <a:cubicBezTo>
                  <a:pt x="21600" y="17179"/>
                  <a:pt x="21600" y="17177"/>
                  <a:pt x="21600" y="17174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11" name="Shape 2935">
            <a:extLst>
              <a:ext uri="{FF2B5EF4-FFF2-40B4-BE49-F238E27FC236}">
                <a16:creationId xmlns:a16="http://schemas.microsoft.com/office/drawing/2014/main" id="{A7BF6261-1B3F-437D-A95A-A9E1BD225D39}"/>
              </a:ext>
            </a:extLst>
          </p:cNvPr>
          <p:cNvSpPr/>
          <p:nvPr/>
        </p:nvSpPr>
        <p:spPr>
          <a:xfrm>
            <a:off x="4887331" y="4827116"/>
            <a:ext cx="345770" cy="34582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31" h="21600" extrusionOk="0">
                <a:moveTo>
                  <a:pt x="6365" y="15409"/>
                </a:moveTo>
                <a:cubicBezTo>
                  <a:pt x="5782" y="14888"/>
                  <a:pt x="4858" y="14006"/>
                  <a:pt x="3935" y="12895"/>
                </a:cubicBezTo>
                <a:cubicBezTo>
                  <a:pt x="2587" y="11273"/>
                  <a:pt x="979" y="8835"/>
                  <a:pt x="979" y="6430"/>
                </a:cubicBezTo>
                <a:cubicBezTo>
                  <a:pt x="979" y="3427"/>
                  <a:pt x="3396" y="982"/>
                  <a:pt x="6366" y="982"/>
                </a:cubicBezTo>
                <a:cubicBezTo>
                  <a:pt x="9336" y="982"/>
                  <a:pt x="11752" y="3427"/>
                  <a:pt x="11752" y="6430"/>
                </a:cubicBezTo>
                <a:cubicBezTo>
                  <a:pt x="11752" y="10208"/>
                  <a:pt x="7888" y="14044"/>
                  <a:pt x="6365" y="15409"/>
                </a:cubicBezTo>
                <a:moveTo>
                  <a:pt x="6366" y="0"/>
                </a:moveTo>
                <a:cubicBezTo>
                  <a:pt x="2850" y="0"/>
                  <a:pt x="0" y="2879"/>
                  <a:pt x="0" y="6430"/>
                </a:cubicBezTo>
                <a:cubicBezTo>
                  <a:pt x="0" y="11655"/>
                  <a:pt x="6366" y="16701"/>
                  <a:pt x="6366" y="16701"/>
                </a:cubicBezTo>
                <a:cubicBezTo>
                  <a:pt x="6366" y="16701"/>
                  <a:pt x="12732" y="11655"/>
                  <a:pt x="12732" y="6430"/>
                </a:cubicBezTo>
                <a:cubicBezTo>
                  <a:pt x="12732" y="2879"/>
                  <a:pt x="9882" y="0"/>
                  <a:pt x="6366" y="0"/>
                </a:cubicBezTo>
                <a:moveTo>
                  <a:pt x="17357" y="19604"/>
                </a:moveTo>
                <a:cubicBezTo>
                  <a:pt x="17127" y="19764"/>
                  <a:pt x="16856" y="19909"/>
                  <a:pt x="16554" y="20033"/>
                </a:cubicBezTo>
                <a:cubicBezTo>
                  <a:pt x="16304" y="20137"/>
                  <a:pt x="16185" y="20424"/>
                  <a:pt x="16288" y="20675"/>
                </a:cubicBezTo>
                <a:cubicBezTo>
                  <a:pt x="16365" y="20865"/>
                  <a:pt x="16548" y="20979"/>
                  <a:pt x="16740" y="20979"/>
                </a:cubicBezTo>
                <a:cubicBezTo>
                  <a:pt x="16802" y="20979"/>
                  <a:pt x="16866" y="20967"/>
                  <a:pt x="16926" y="20942"/>
                </a:cubicBezTo>
                <a:cubicBezTo>
                  <a:pt x="17294" y="20790"/>
                  <a:pt x="17627" y="20611"/>
                  <a:pt x="17915" y="20411"/>
                </a:cubicBezTo>
                <a:cubicBezTo>
                  <a:pt x="18138" y="20256"/>
                  <a:pt x="18193" y="19950"/>
                  <a:pt x="18039" y="19727"/>
                </a:cubicBezTo>
                <a:cubicBezTo>
                  <a:pt x="17885" y="19505"/>
                  <a:pt x="17579" y="19449"/>
                  <a:pt x="17357" y="19604"/>
                </a:cubicBezTo>
                <a:moveTo>
                  <a:pt x="16249" y="13042"/>
                </a:moveTo>
                <a:cubicBezTo>
                  <a:pt x="16109" y="12790"/>
                  <a:pt x="16024" y="12529"/>
                  <a:pt x="15995" y="12265"/>
                </a:cubicBezTo>
                <a:cubicBezTo>
                  <a:pt x="15966" y="11995"/>
                  <a:pt x="15731" y="11801"/>
                  <a:pt x="15456" y="11829"/>
                </a:cubicBezTo>
                <a:cubicBezTo>
                  <a:pt x="15187" y="11859"/>
                  <a:pt x="14992" y="12100"/>
                  <a:pt x="15022" y="12370"/>
                </a:cubicBezTo>
                <a:cubicBezTo>
                  <a:pt x="15064" y="12767"/>
                  <a:pt x="15190" y="13154"/>
                  <a:pt x="15395" y="13522"/>
                </a:cubicBezTo>
                <a:cubicBezTo>
                  <a:pt x="15484" y="13682"/>
                  <a:pt x="15651" y="13773"/>
                  <a:pt x="15822" y="13773"/>
                </a:cubicBezTo>
                <a:cubicBezTo>
                  <a:pt x="15904" y="13773"/>
                  <a:pt x="15985" y="13753"/>
                  <a:pt x="16061" y="13710"/>
                </a:cubicBezTo>
                <a:cubicBezTo>
                  <a:pt x="16297" y="13578"/>
                  <a:pt x="16382" y="13279"/>
                  <a:pt x="16249" y="13042"/>
                </a:cubicBezTo>
                <a:moveTo>
                  <a:pt x="18249" y="15254"/>
                </a:moveTo>
                <a:cubicBezTo>
                  <a:pt x="18041" y="14981"/>
                  <a:pt x="17803" y="14708"/>
                  <a:pt x="17538" y="14439"/>
                </a:cubicBezTo>
                <a:cubicBezTo>
                  <a:pt x="17349" y="14246"/>
                  <a:pt x="17039" y="14244"/>
                  <a:pt x="16845" y="14434"/>
                </a:cubicBezTo>
                <a:cubicBezTo>
                  <a:pt x="16653" y="14624"/>
                  <a:pt x="16651" y="14935"/>
                  <a:pt x="16841" y="15129"/>
                </a:cubicBezTo>
                <a:cubicBezTo>
                  <a:pt x="17076" y="15368"/>
                  <a:pt x="17288" y="15612"/>
                  <a:pt x="17471" y="15851"/>
                </a:cubicBezTo>
                <a:cubicBezTo>
                  <a:pt x="17568" y="15977"/>
                  <a:pt x="17713" y="16043"/>
                  <a:pt x="17860" y="16043"/>
                </a:cubicBezTo>
                <a:cubicBezTo>
                  <a:pt x="17964" y="16043"/>
                  <a:pt x="18068" y="16011"/>
                  <a:pt x="18157" y="15942"/>
                </a:cubicBezTo>
                <a:cubicBezTo>
                  <a:pt x="18373" y="15777"/>
                  <a:pt x="18413" y="15469"/>
                  <a:pt x="18249" y="15254"/>
                </a:cubicBezTo>
                <a:moveTo>
                  <a:pt x="21476" y="5928"/>
                </a:moveTo>
                <a:cubicBezTo>
                  <a:pt x="21352" y="5687"/>
                  <a:pt x="21057" y="5592"/>
                  <a:pt x="20817" y="5717"/>
                </a:cubicBezTo>
                <a:cubicBezTo>
                  <a:pt x="20817" y="5717"/>
                  <a:pt x="20650" y="5803"/>
                  <a:pt x="20371" y="5962"/>
                </a:cubicBezTo>
                <a:cubicBezTo>
                  <a:pt x="20136" y="6096"/>
                  <a:pt x="20054" y="6396"/>
                  <a:pt x="20188" y="6632"/>
                </a:cubicBezTo>
                <a:cubicBezTo>
                  <a:pt x="20278" y="6791"/>
                  <a:pt x="20444" y="6880"/>
                  <a:pt x="20614" y="6880"/>
                </a:cubicBezTo>
                <a:cubicBezTo>
                  <a:pt x="20697" y="6880"/>
                  <a:pt x="20780" y="6859"/>
                  <a:pt x="20856" y="6815"/>
                </a:cubicBezTo>
                <a:cubicBezTo>
                  <a:pt x="21108" y="6672"/>
                  <a:pt x="21261" y="6592"/>
                  <a:pt x="21265" y="6590"/>
                </a:cubicBezTo>
                <a:cubicBezTo>
                  <a:pt x="21506" y="6466"/>
                  <a:pt x="21600" y="6170"/>
                  <a:pt x="21476" y="5928"/>
                </a:cubicBezTo>
                <a:moveTo>
                  <a:pt x="18659" y="16886"/>
                </a:moveTo>
                <a:cubicBezTo>
                  <a:pt x="18395" y="16941"/>
                  <a:pt x="18225" y="17201"/>
                  <a:pt x="18280" y="17467"/>
                </a:cubicBezTo>
                <a:cubicBezTo>
                  <a:pt x="18312" y="17625"/>
                  <a:pt x="18330" y="17781"/>
                  <a:pt x="18330" y="17929"/>
                </a:cubicBezTo>
                <a:cubicBezTo>
                  <a:pt x="18330" y="18050"/>
                  <a:pt x="18318" y="18171"/>
                  <a:pt x="18296" y="18287"/>
                </a:cubicBezTo>
                <a:cubicBezTo>
                  <a:pt x="18244" y="18554"/>
                  <a:pt x="18418" y="18811"/>
                  <a:pt x="18683" y="18862"/>
                </a:cubicBezTo>
                <a:cubicBezTo>
                  <a:pt x="18715" y="18869"/>
                  <a:pt x="18746" y="18871"/>
                  <a:pt x="18777" y="18871"/>
                </a:cubicBezTo>
                <a:cubicBezTo>
                  <a:pt x="19007" y="18871"/>
                  <a:pt x="19212" y="18708"/>
                  <a:pt x="19257" y="18473"/>
                </a:cubicBezTo>
                <a:cubicBezTo>
                  <a:pt x="19292" y="18296"/>
                  <a:pt x="19309" y="18114"/>
                  <a:pt x="19309" y="17929"/>
                </a:cubicBezTo>
                <a:cubicBezTo>
                  <a:pt x="19309" y="17715"/>
                  <a:pt x="19285" y="17492"/>
                  <a:pt x="19239" y="17267"/>
                </a:cubicBezTo>
                <a:cubicBezTo>
                  <a:pt x="19183" y="17001"/>
                  <a:pt x="18923" y="16832"/>
                  <a:pt x="18659" y="16886"/>
                </a:cubicBezTo>
                <a:moveTo>
                  <a:pt x="18590" y="7106"/>
                </a:moveTo>
                <a:cubicBezTo>
                  <a:pt x="18317" y="7303"/>
                  <a:pt x="18035" y="7518"/>
                  <a:pt x="17756" y="7745"/>
                </a:cubicBezTo>
                <a:cubicBezTo>
                  <a:pt x="17546" y="7917"/>
                  <a:pt x="17515" y="8226"/>
                  <a:pt x="17686" y="8436"/>
                </a:cubicBezTo>
                <a:cubicBezTo>
                  <a:pt x="17783" y="8556"/>
                  <a:pt x="17924" y="8617"/>
                  <a:pt x="18066" y="8617"/>
                </a:cubicBezTo>
                <a:cubicBezTo>
                  <a:pt x="18174" y="8617"/>
                  <a:pt x="18284" y="8581"/>
                  <a:pt x="18374" y="8507"/>
                </a:cubicBezTo>
                <a:cubicBezTo>
                  <a:pt x="18637" y="8292"/>
                  <a:pt x="18903" y="8090"/>
                  <a:pt x="19161" y="7905"/>
                </a:cubicBezTo>
                <a:cubicBezTo>
                  <a:pt x="19380" y="7747"/>
                  <a:pt x="19431" y="7440"/>
                  <a:pt x="19273" y="7220"/>
                </a:cubicBezTo>
                <a:cubicBezTo>
                  <a:pt x="19116" y="6999"/>
                  <a:pt x="18810" y="6949"/>
                  <a:pt x="18590" y="7106"/>
                </a:cubicBezTo>
                <a:moveTo>
                  <a:pt x="14704" y="20512"/>
                </a:moveTo>
                <a:cubicBezTo>
                  <a:pt x="14393" y="20556"/>
                  <a:pt x="14065" y="20590"/>
                  <a:pt x="13729" y="20611"/>
                </a:cubicBezTo>
                <a:cubicBezTo>
                  <a:pt x="13459" y="20629"/>
                  <a:pt x="13254" y="20863"/>
                  <a:pt x="13272" y="21134"/>
                </a:cubicBezTo>
                <a:cubicBezTo>
                  <a:pt x="13289" y="21394"/>
                  <a:pt x="13504" y="21593"/>
                  <a:pt x="13760" y="21593"/>
                </a:cubicBezTo>
                <a:cubicBezTo>
                  <a:pt x="13771" y="21593"/>
                  <a:pt x="13781" y="21592"/>
                  <a:pt x="13792" y="21592"/>
                </a:cubicBezTo>
                <a:cubicBezTo>
                  <a:pt x="14152" y="21568"/>
                  <a:pt x="14506" y="21533"/>
                  <a:pt x="14842" y="21485"/>
                </a:cubicBezTo>
                <a:cubicBezTo>
                  <a:pt x="15110" y="21447"/>
                  <a:pt x="15296" y="21198"/>
                  <a:pt x="15258" y="20929"/>
                </a:cubicBezTo>
                <a:cubicBezTo>
                  <a:pt x="15220" y="20661"/>
                  <a:pt x="14973" y="20472"/>
                  <a:pt x="14704" y="20512"/>
                </a:cubicBezTo>
                <a:moveTo>
                  <a:pt x="8893" y="20109"/>
                </a:moveTo>
                <a:cubicBezTo>
                  <a:pt x="8582" y="19997"/>
                  <a:pt x="8299" y="19866"/>
                  <a:pt x="8052" y="19721"/>
                </a:cubicBezTo>
                <a:cubicBezTo>
                  <a:pt x="7818" y="19582"/>
                  <a:pt x="7519" y="19663"/>
                  <a:pt x="7382" y="19896"/>
                </a:cubicBezTo>
                <a:cubicBezTo>
                  <a:pt x="7244" y="20130"/>
                  <a:pt x="7323" y="20432"/>
                  <a:pt x="7556" y="20568"/>
                </a:cubicBezTo>
                <a:cubicBezTo>
                  <a:pt x="7856" y="20744"/>
                  <a:pt x="8194" y="20901"/>
                  <a:pt x="8562" y="21034"/>
                </a:cubicBezTo>
                <a:cubicBezTo>
                  <a:pt x="8617" y="21053"/>
                  <a:pt x="8672" y="21062"/>
                  <a:pt x="8728" y="21062"/>
                </a:cubicBezTo>
                <a:cubicBezTo>
                  <a:pt x="8928" y="21062"/>
                  <a:pt x="9117" y="20938"/>
                  <a:pt x="9189" y="20737"/>
                </a:cubicBezTo>
                <a:cubicBezTo>
                  <a:pt x="9280" y="20482"/>
                  <a:pt x="9148" y="20200"/>
                  <a:pt x="8893" y="20109"/>
                </a:cubicBezTo>
                <a:moveTo>
                  <a:pt x="11751" y="20618"/>
                </a:moveTo>
                <a:cubicBezTo>
                  <a:pt x="11412" y="20600"/>
                  <a:pt x="11082" y="20572"/>
                  <a:pt x="10771" y="20533"/>
                </a:cubicBezTo>
                <a:cubicBezTo>
                  <a:pt x="10502" y="20493"/>
                  <a:pt x="10258" y="20690"/>
                  <a:pt x="10225" y="20959"/>
                </a:cubicBezTo>
                <a:cubicBezTo>
                  <a:pt x="10191" y="21229"/>
                  <a:pt x="10382" y="21474"/>
                  <a:pt x="10650" y="21507"/>
                </a:cubicBezTo>
                <a:cubicBezTo>
                  <a:pt x="10984" y="21549"/>
                  <a:pt x="11337" y="21580"/>
                  <a:pt x="11699" y="21600"/>
                </a:cubicBezTo>
                <a:cubicBezTo>
                  <a:pt x="11708" y="21600"/>
                  <a:pt x="11716" y="21600"/>
                  <a:pt x="11725" y="21600"/>
                </a:cubicBezTo>
                <a:cubicBezTo>
                  <a:pt x="11984" y="21600"/>
                  <a:pt x="12200" y="21397"/>
                  <a:pt x="12214" y="21135"/>
                </a:cubicBezTo>
                <a:cubicBezTo>
                  <a:pt x="12228" y="20863"/>
                  <a:pt x="12021" y="20632"/>
                  <a:pt x="11751" y="20618"/>
                </a:cubicBezTo>
                <a:moveTo>
                  <a:pt x="6840" y="18180"/>
                </a:moveTo>
                <a:cubicBezTo>
                  <a:pt x="6836" y="17912"/>
                  <a:pt x="6619" y="17696"/>
                  <a:pt x="6351" y="17696"/>
                </a:cubicBezTo>
                <a:cubicBezTo>
                  <a:pt x="6080" y="17696"/>
                  <a:pt x="5861" y="17916"/>
                  <a:pt x="5861" y="18188"/>
                </a:cubicBezTo>
                <a:cubicBezTo>
                  <a:pt x="5861" y="18234"/>
                  <a:pt x="5867" y="18484"/>
                  <a:pt x="5997" y="18834"/>
                </a:cubicBezTo>
                <a:cubicBezTo>
                  <a:pt x="6070" y="19033"/>
                  <a:pt x="6257" y="19155"/>
                  <a:pt x="6456" y="19155"/>
                </a:cubicBezTo>
                <a:cubicBezTo>
                  <a:pt x="6512" y="19155"/>
                  <a:pt x="6570" y="19145"/>
                  <a:pt x="6626" y="19124"/>
                </a:cubicBezTo>
                <a:cubicBezTo>
                  <a:pt x="6880" y="19030"/>
                  <a:pt x="7009" y="18748"/>
                  <a:pt x="6915" y="18493"/>
                </a:cubicBezTo>
                <a:cubicBezTo>
                  <a:pt x="6849" y="18314"/>
                  <a:pt x="6841" y="18191"/>
                  <a:pt x="6840" y="18180"/>
                </a:cubicBezTo>
                <a:moveTo>
                  <a:pt x="15760" y="10798"/>
                </a:moveTo>
                <a:cubicBezTo>
                  <a:pt x="15838" y="10844"/>
                  <a:pt x="15924" y="10866"/>
                  <a:pt x="16008" y="10866"/>
                </a:cubicBezTo>
                <a:cubicBezTo>
                  <a:pt x="16176" y="10866"/>
                  <a:pt x="16339" y="10780"/>
                  <a:pt x="16431" y="10625"/>
                </a:cubicBezTo>
                <a:cubicBezTo>
                  <a:pt x="16577" y="10376"/>
                  <a:pt x="16761" y="10120"/>
                  <a:pt x="16977" y="9861"/>
                </a:cubicBezTo>
                <a:cubicBezTo>
                  <a:pt x="17151" y="9653"/>
                  <a:pt x="17124" y="9343"/>
                  <a:pt x="16917" y="9169"/>
                </a:cubicBezTo>
                <a:cubicBezTo>
                  <a:pt x="16709" y="8994"/>
                  <a:pt x="16400" y="9022"/>
                  <a:pt x="16227" y="9230"/>
                </a:cubicBezTo>
                <a:cubicBezTo>
                  <a:pt x="15976" y="9529"/>
                  <a:pt x="15761" y="9832"/>
                  <a:pt x="15587" y="10125"/>
                </a:cubicBezTo>
                <a:cubicBezTo>
                  <a:pt x="15450" y="10359"/>
                  <a:pt x="15527" y="10659"/>
                  <a:pt x="15760" y="10798"/>
                </a:cubicBezTo>
                <a:moveTo>
                  <a:pt x="6366" y="8841"/>
                </a:moveTo>
                <a:cubicBezTo>
                  <a:pt x="5014" y="8841"/>
                  <a:pt x="3917" y="7741"/>
                  <a:pt x="3917" y="6384"/>
                </a:cubicBezTo>
                <a:cubicBezTo>
                  <a:pt x="3917" y="5027"/>
                  <a:pt x="5014" y="3927"/>
                  <a:pt x="6366" y="3927"/>
                </a:cubicBezTo>
                <a:cubicBezTo>
                  <a:pt x="7719" y="3927"/>
                  <a:pt x="8814" y="5027"/>
                  <a:pt x="8814" y="6384"/>
                </a:cubicBezTo>
                <a:cubicBezTo>
                  <a:pt x="8814" y="7741"/>
                  <a:pt x="7719" y="8841"/>
                  <a:pt x="6366" y="8841"/>
                </a:cubicBezTo>
                <a:moveTo>
                  <a:pt x="6366" y="2955"/>
                </a:moveTo>
                <a:cubicBezTo>
                  <a:pt x="4473" y="2955"/>
                  <a:pt x="2938" y="4494"/>
                  <a:pt x="2938" y="6392"/>
                </a:cubicBezTo>
                <a:cubicBezTo>
                  <a:pt x="2938" y="8291"/>
                  <a:pt x="4473" y="9831"/>
                  <a:pt x="6366" y="9831"/>
                </a:cubicBezTo>
                <a:cubicBezTo>
                  <a:pt x="8259" y="9831"/>
                  <a:pt x="9794" y="8291"/>
                  <a:pt x="9794" y="6392"/>
                </a:cubicBezTo>
                <a:cubicBezTo>
                  <a:pt x="9794" y="4494"/>
                  <a:pt x="8259" y="2955"/>
                  <a:pt x="6366" y="2955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</p:spTree>
    <p:extLst>
      <p:ext uri="{BB962C8B-B14F-4D97-AF65-F5344CB8AC3E}">
        <p14:creationId xmlns:p14="http://schemas.microsoft.com/office/powerpoint/2010/main" val="1440621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331" userDrawn="1">
          <p15:clr>
            <a:srgbClr val="A4A3A4"/>
          </p15:clr>
        </p15:guide>
        <p15:guide id="4" pos="5952" userDrawn="1">
          <p15:clr>
            <a:srgbClr val="A4A3A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07246ADE-AF0D-4665-B94E-C64EAAA42D2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52600" y="6339508"/>
            <a:ext cx="1080000" cy="341053"/>
          </a:xfrm>
          <a:prstGeom prst="rect">
            <a:avLst/>
          </a:prstGeom>
        </p:spPr>
      </p:pic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55435B5D-331F-4378-A98D-701BF37150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36000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/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8150" y="1001374"/>
            <a:ext cx="11394450" cy="369332"/>
          </a:xfrm>
          <a:prstGeom prst="rect">
            <a:avLst/>
          </a:prstGeom>
        </p:spPr>
        <p:txBody>
          <a:bodyPr wrap="square" lIns="72000" tIns="36000" rIns="72000" bIns="36000">
            <a:no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9pPr>
          </a:lstStyle>
          <a:p>
            <a:r>
              <a:rPr lang="en-US" dirty="0"/>
              <a:t>Click to edit subtitle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E6ED0A72-E592-4B3B-8C41-58375CA12D2D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39200" y="1511300"/>
            <a:ext cx="3517200" cy="4648200"/>
          </a:xfrm>
        </p:spPr>
        <p:txBody>
          <a:bodyPr lIns="72000" tIns="36000" rIns="72000" bIns="36000"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                                                                                                                           Enter &amp; TAB for next text level                                                                                                              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34EA0CED-41AA-4000-8AD4-B7611CD8FC4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373988" y="1511300"/>
            <a:ext cx="3520650" cy="4648200"/>
          </a:xfrm>
        </p:spPr>
        <p:txBody>
          <a:bodyPr lIns="72000" tIns="36000" rIns="72000" bIns="36000"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                                                                                                                           Enter &amp; TAB for next text level                                                                                                              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19" name="Content Placeholder 4">
            <a:extLst>
              <a:ext uri="{FF2B5EF4-FFF2-40B4-BE49-F238E27FC236}">
                <a16:creationId xmlns:a16="http://schemas.microsoft.com/office/drawing/2014/main" id="{783FC893-B43E-495D-A58D-B99DBF431AA0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315324" y="1511300"/>
            <a:ext cx="3517275" cy="4648200"/>
          </a:xfrm>
        </p:spPr>
        <p:txBody>
          <a:bodyPr lIns="72000" tIns="36000" rIns="72000" bIns="36000"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                                                                                                                           Enter &amp; TAB for next text level                                                                                                              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29600" y="6375818"/>
            <a:ext cx="511868" cy="365125"/>
          </a:xfrm>
          <a:prstGeom prst="rect">
            <a:avLst/>
          </a:prstGeom>
        </p:spPr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140062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2492" userDrawn="1">
          <p15:clr>
            <a:srgbClr val="A4A3A4"/>
          </p15:clr>
        </p15:guide>
        <p15:guide id="7" pos="2757" userDrawn="1">
          <p15:clr>
            <a:srgbClr val="A4A3A4"/>
          </p15:clr>
        </p15:guide>
        <p15:guide id="8" pos="4973" userDrawn="1">
          <p15:clr>
            <a:srgbClr val="A4A3A4"/>
          </p15:clr>
        </p15:guide>
        <p15:guide id="9" pos="5238" userDrawn="1">
          <p15:clr>
            <a:srgbClr val="A4A3A4"/>
          </p15:clr>
        </p15:guide>
        <p15:guide id="10" orient="horz" pos="952" userDrawn="1">
          <p15:clr>
            <a:srgbClr val="A4A3A4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 mor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Logo on top">
            <a:extLst>
              <a:ext uri="{FF2B5EF4-FFF2-40B4-BE49-F238E27FC236}">
                <a16:creationId xmlns:a16="http://schemas.microsoft.com/office/drawing/2014/main" id="{946C4B67-243B-42D4-B01A-C1E49052FDDD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10753200" y="6339600"/>
            <a:ext cx="1080000" cy="340069"/>
          </a:xfrm>
          <a:custGeom>
            <a:avLst/>
            <a:gdLst>
              <a:gd name="connsiteX0" fmla="*/ 968375 w 3876676"/>
              <a:gd name="connsiteY0" fmla="*/ 557213 h 1212806"/>
              <a:gd name="connsiteX1" fmla="*/ 1176338 w 3876676"/>
              <a:gd name="connsiteY1" fmla="*/ 557213 h 1212806"/>
              <a:gd name="connsiteX2" fmla="*/ 1176338 w 3876676"/>
              <a:gd name="connsiteY2" fmla="*/ 1193801 h 1212806"/>
              <a:gd name="connsiteX3" fmla="*/ 968375 w 3876676"/>
              <a:gd name="connsiteY3" fmla="*/ 1193801 h 1212806"/>
              <a:gd name="connsiteX4" fmla="*/ 0 w 3876676"/>
              <a:gd name="connsiteY4" fmla="*/ 557213 h 1212806"/>
              <a:gd name="connsiteX5" fmla="*/ 239712 w 3876676"/>
              <a:gd name="connsiteY5" fmla="*/ 557213 h 1212806"/>
              <a:gd name="connsiteX6" fmla="*/ 561975 w 3876676"/>
              <a:gd name="connsiteY6" fmla="*/ 893763 h 1212806"/>
              <a:gd name="connsiteX7" fmla="*/ 581025 w 3876676"/>
              <a:gd name="connsiteY7" fmla="*/ 560388 h 1212806"/>
              <a:gd name="connsiteX8" fmla="*/ 782638 w 3876676"/>
              <a:gd name="connsiteY8" fmla="*/ 560388 h 1212806"/>
              <a:gd name="connsiteX9" fmla="*/ 782638 w 3876676"/>
              <a:gd name="connsiteY9" fmla="*/ 1193801 h 1212806"/>
              <a:gd name="connsiteX10" fmla="*/ 590550 w 3876676"/>
              <a:gd name="connsiteY10" fmla="*/ 1193801 h 1212806"/>
              <a:gd name="connsiteX11" fmla="*/ 214312 w 3876676"/>
              <a:gd name="connsiteY11" fmla="*/ 811213 h 1212806"/>
              <a:gd name="connsiteX12" fmla="*/ 192087 w 3876676"/>
              <a:gd name="connsiteY12" fmla="*/ 1193801 h 1212806"/>
              <a:gd name="connsiteX13" fmla="*/ 0 w 3876676"/>
              <a:gd name="connsiteY13" fmla="*/ 1193801 h 1212806"/>
              <a:gd name="connsiteX14" fmla="*/ 1748787 w 3876676"/>
              <a:gd name="connsiteY14" fmla="*/ 547727 h 1212806"/>
              <a:gd name="connsiteX15" fmla="*/ 2081150 w 3876676"/>
              <a:gd name="connsiteY15" fmla="*/ 743800 h 1212806"/>
              <a:gd name="connsiteX16" fmla="*/ 1918165 w 3876676"/>
              <a:gd name="connsiteY16" fmla="*/ 962372 h 1212806"/>
              <a:gd name="connsiteX17" fmla="*/ 2081150 w 3876676"/>
              <a:gd name="connsiteY17" fmla="*/ 1193801 h 1212806"/>
              <a:gd name="connsiteX18" fmla="*/ 1860640 w 3876676"/>
              <a:gd name="connsiteY18" fmla="*/ 1193801 h 1212806"/>
              <a:gd name="connsiteX19" fmla="*/ 1656109 w 3876676"/>
              <a:gd name="connsiteY19" fmla="*/ 972015 h 1212806"/>
              <a:gd name="connsiteX20" fmla="*/ 1656109 w 3876676"/>
              <a:gd name="connsiteY20" fmla="*/ 872371 h 1212806"/>
              <a:gd name="connsiteX21" fmla="*/ 1854249 w 3876676"/>
              <a:gd name="connsiteY21" fmla="*/ 756657 h 1212806"/>
              <a:gd name="connsiteX22" fmla="*/ 1710438 w 3876676"/>
              <a:gd name="connsiteY22" fmla="*/ 676299 h 1212806"/>
              <a:gd name="connsiteX23" fmla="*/ 1582606 w 3876676"/>
              <a:gd name="connsiteY23" fmla="*/ 682728 h 1212806"/>
              <a:gd name="connsiteX24" fmla="*/ 1550648 w 3876676"/>
              <a:gd name="connsiteY24" fmla="*/ 1193801 h 1212806"/>
              <a:gd name="connsiteX25" fmla="*/ 1358900 w 3876676"/>
              <a:gd name="connsiteY25" fmla="*/ 1193801 h 1212806"/>
              <a:gd name="connsiteX26" fmla="*/ 1358900 w 3876676"/>
              <a:gd name="connsiteY26" fmla="*/ 557370 h 1212806"/>
              <a:gd name="connsiteX27" fmla="*/ 1748787 w 3876676"/>
              <a:gd name="connsiteY27" fmla="*/ 547727 h 1212806"/>
              <a:gd name="connsiteX28" fmla="*/ 3505842 w 3876676"/>
              <a:gd name="connsiteY28" fmla="*/ 533444 h 1212806"/>
              <a:gd name="connsiteX29" fmla="*/ 3831920 w 3876676"/>
              <a:gd name="connsiteY29" fmla="*/ 549540 h 1212806"/>
              <a:gd name="connsiteX30" fmla="*/ 3831920 w 3876676"/>
              <a:gd name="connsiteY30" fmla="*/ 697618 h 1212806"/>
              <a:gd name="connsiteX31" fmla="*/ 3579369 w 3876676"/>
              <a:gd name="connsiteY31" fmla="*/ 675085 h 1212806"/>
              <a:gd name="connsiteX32" fmla="*/ 3419527 w 3876676"/>
              <a:gd name="connsiteY32" fmla="*/ 729809 h 1212806"/>
              <a:gd name="connsiteX33" fmla="*/ 3521826 w 3876676"/>
              <a:gd name="connsiteY33" fmla="*/ 778096 h 1212806"/>
              <a:gd name="connsiteX34" fmla="*/ 3876676 w 3876676"/>
              <a:gd name="connsiteY34" fmla="*/ 996994 h 1212806"/>
              <a:gd name="connsiteX35" fmla="*/ 3505842 w 3876676"/>
              <a:gd name="connsiteY35" fmla="*/ 1212674 h 1212806"/>
              <a:gd name="connsiteX36" fmla="*/ 3208535 w 3876676"/>
              <a:gd name="connsiteY36" fmla="*/ 1193359 h 1212806"/>
              <a:gd name="connsiteX37" fmla="*/ 3208535 w 3876676"/>
              <a:gd name="connsiteY37" fmla="*/ 1032404 h 1212806"/>
              <a:gd name="connsiteX38" fmla="*/ 3451495 w 3876676"/>
              <a:gd name="connsiteY38" fmla="*/ 1064595 h 1212806"/>
              <a:gd name="connsiteX39" fmla="*/ 3649700 w 3876676"/>
              <a:gd name="connsiteY39" fmla="*/ 1006652 h 1212806"/>
              <a:gd name="connsiteX40" fmla="*/ 3560188 w 3876676"/>
              <a:gd name="connsiteY40" fmla="*/ 964803 h 1212806"/>
              <a:gd name="connsiteX41" fmla="*/ 3179763 w 3876676"/>
              <a:gd name="connsiteY41" fmla="*/ 749124 h 1212806"/>
              <a:gd name="connsiteX42" fmla="*/ 3505842 w 3876676"/>
              <a:gd name="connsiteY42" fmla="*/ 533444 h 1212806"/>
              <a:gd name="connsiteX43" fmla="*/ 2179638 w 3876676"/>
              <a:gd name="connsiteY43" fmla="*/ 476250 h 1212806"/>
              <a:gd name="connsiteX44" fmla="*/ 2182834 w 3876676"/>
              <a:gd name="connsiteY44" fmla="*/ 476250 h 1212806"/>
              <a:gd name="connsiteX45" fmla="*/ 2368233 w 3876676"/>
              <a:gd name="connsiteY45" fmla="*/ 810892 h 1212806"/>
              <a:gd name="connsiteX46" fmla="*/ 2499290 w 3876676"/>
              <a:gd name="connsiteY46" fmla="*/ 556693 h 1212806"/>
              <a:gd name="connsiteX47" fmla="*/ 2812550 w 3876676"/>
              <a:gd name="connsiteY47" fmla="*/ 556693 h 1212806"/>
              <a:gd name="connsiteX48" fmla="*/ 2962787 w 3876676"/>
              <a:gd name="connsiteY48" fmla="*/ 855940 h 1212806"/>
              <a:gd name="connsiteX49" fmla="*/ 3122613 w 3876676"/>
              <a:gd name="connsiteY49" fmla="*/ 1193800 h 1212806"/>
              <a:gd name="connsiteX50" fmla="*/ 2918035 w 3876676"/>
              <a:gd name="connsiteY50" fmla="*/ 1193800 h 1212806"/>
              <a:gd name="connsiteX51" fmla="*/ 2652724 w 3876676"/>
              <a:gd name="connsiteY51" fmla="*/ 720796 h 1212806"/>
              <a:gd name="connsiteX52" fmla="*/ 2550435 w 3876676"/>
              <a:gd name="connsiteY52" fmla="*/ 907424 h 1212806"/>
              <a:gd name="connsiteX53" fmla="*/ 2662313 w 3876676"/>
              <a:gd name="connsiteY53" fmla="*/ 926730 h 1212806"/>
              <a:gd name="connsiteX54" fmla="*/ 2662313 w 3876676"/>
              <a:gd name="connsiteY54" fmla="*/ 1103704 h 1212806"/>
              <a:gd name="connsiteX55" fmla="*/ 2460932 w 3876676"/>
              <a:gd name="connsiteY55" fmla="*/ 1068309 h 1212806"/>
              <a:gd name="connsiteX56" fmla="*/ 2393805 w 3876676"/>
              <a:gd name="connsiteY56" fmla="*/ 1193800 h 1212806"/>
              <a:gd name="connsiteX57" fmla="*/ 2189227 w 3876676"/>
              <a:gd name="connsiteY57" fmla="*/ 1193800 h 1212806"/>
              <a:gd name="connsiteX58" fmla="*/ 2294713 w 3876676"/>
              <a:gd name="connsiteY58" fmla="*/ 965343 h 1212806"/>
              <a:gd name="connsiteX59" fmla="*/ 2179638 w 3876676"/>
              <a:gd name="connsiteY59" fmla="*/ 749756 h 1212806"/>
              <a:gd name="connsiteX60" fmla="*/ 2179638 w 3876676"/>
              <a:gd name="connsiteY60" fmla="*/ 476250 h 1212806"/>
              <a:gd name="connsiteX61" fmla="*/ 2665413 w 3876676"/>
              <a:gd name="connsiteY61" fmla="*/ 0 h 1212806"/>
              <a:gd name="connsiteX62" fmla="*/ 2665413 w 3876676"/>
              <a:gd name="connsiteY62" fmla="*/ 199390 h 1212806"/>
              <a:gd name="connsiteX63" fmla="*/ 2313126 w 3876676"/>
              <a:gd name="connsiteY63" fmla="*/ 498475 h 1212806"/>
              <a:gd name="connsiteX64" fmla="*/ 2300315 w 3876676"/>
              <a:gd name="connsiteY64" fmla="*/ 395564 h 1212806"/>
              <a:gd name="connsiteX65" fmla="*/ 2665413 w 3876676"/>
              <a:gd name="connsiteY65" fmla="*/ 0 h 1212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3876676" h="1212806">
                <a:moveTo>
                  <a:pt x="968375" y="557213"/>
                </a:moveTo>
                <a:lnTo>
                  <a:pt x="1176338" y="557213"/>
                </a:lnTo>
                <a:lnTo>
                  <a:pt x="1176338" y="1193801"/>
                </a:lnTo>
                <a:lnTo>
                  <a:pt x="968375" y="1193801"/>
                </a:lnTo>
                <a:close/>
                <a:moveTo>
                  <a:pt x="0" y="557213"/>
                </a:moveTo>
                <a:lnTo>
                  <a:pt x="239712" y="557213"/>
                </a:lnTo>
                <a:lnTo>
                  <a:pt x="561975" y="893763"/>
                </a:lnTo>
                <a:lnTo>
                  <a:pt x="581025" y="560388"/>
                </a:lnTo>
                <a:lnTo>
                  <a:pt x="782638" y="560388"/>
                </a:lnTo>
                <a:lnTo>
                  <a:pt x="782638" y="1193801"/>
                </a:lnTo>
                <a:lnTo>
                  <a:pt x="590550" y="1193801"/>
                </a:lnTo>
                <a:lnTo>
                  <a:pt x="214312" y="811213"/>
                </a:lnTo>
                <a:lnTo>
                  <a:pt x="192087" y="1193801"/>
                </a:lnTo>
                <a:lnTo>
                  <a:pt x="0" y="1193801"/>
                </a:lnTo>
                <a:close/>
                <a:moveTo>
                  <a:pt x="1748787" y="547727"/>
                </a:moveTo>
                <a:cubicBezTo>
                  <a:pt x="1892598" y="547727"/>
                  <a:pt x="2068367" y="583085"/>
                  <a:pt x="2081150" y="743800"/>
                </a:cubicBezTo>
                <a:cubicBezTo>
                  <a:pt x="2090738" y="917372"/>
                  <a:pt x="1918165" y="962372"/>
                  <a:pt x="1918165" y="962372"/>
                </a:cubicBezTo>
                <a:cubicBezTo>
                  <a:pt x="1918165" y="962372"/>
                  <a:pt x="1918165" y="962372"/>
                  <a:pt x="2081150" y="1193801"/>
                </a:cubicBezTo>
                <a:cubicBezTo>
                  <a:pt x="2081150" y="1193801"/>
                  <a:pt x="2081150" y="1193801"/>
                  <a:pt x="1860640" y="1193801"/>
                </a:cubicBezTo>
                <a:cubicBezTo>
                  <a:pt x="1860640" y="1193801"/>
                  <a:pt x="1860640" y="1193801"/>
                  <a:pt x="1656109" y="972015"/>
                </a:cubicBezTo>
                <a:cubicBezTo>
                  <a:pt x="1656109" y="972015"/>
                  <a:pt x="1656109" y="972015"/>
                  <a:pt x="1656109" y="872371"/>
                </a:cubicBezTo>
                <a:cubicBezTo>
                  <a:pt x="1838270" y="872371"/>
                  <a:pt x="1857444" y="811300"/>
                  <a:pt x="1854249" y="756657"/>
                </a:cubicBezTo>
                <a:cubicBezTo>
                  <a:pt x="1851053" y="705228"/>
                  <a:pt x="1790333" y="676299"/>
                  <a:pt x="1710438" y="676299"/>
                </a:cubicBezTo>
                <a:cubicBezTo>
                  <a:pt x="1659305" y="676299"/>
                  <a:pt x="1582606" y="682728"/>
                  <a:pt x="1582606" y="682728"/>
                </a:cubicBezTo>
                <a:cubicBezTo>
                  <a:pt x="1582606" y="682728"/>
                  <a:pt x="1582606" y="682728"/>
                  <a:pt x="1550648" y="1193801"/>
                </a:cubicBezTo>
                <a:cubicBezTo>
                  <a:pt x="1550648" y="1193801"/>
                  <a:pt x="1550648" y="1193801"/>
                  <a:pt x="1358900" y="1193801"/>
                </a:cubicBezTo>
                <a:cubicBezTo>
                  <a:pt x="1358900" y="1193801"/>
                  <a:pt x="1358900" y="1193801"/>
                  <a:pt x="1358900" y="557370"/>
                </a:cubicBezTo>
                <a:cubicBezTo>
                  <a:pt x="1358900" y="557370"/>
                  <a:pt x="1633738" y="544513"/>
                  <a:pt x="1748787" y="547727"/>
                </a:cubicBezTo>
                <a:close/>
                <a:moveTo>
                  <a:pt x="3505842" y="533444"/>
                </a:moveTo>
                <a:cubicBezTo>
                  <a:pt x="3668881" y="530225"/>
                  <a:pt x="3831920" y="549540"/>
                  <a:pt x="3831920" y="549540"/>
                </a:cubicBezTo>
                <a:cubicBezTo>
                  <a:pt x="3831920" y="549540"/>
                  <a:pt x="3831920" y="549540"/>
                  <a:pt x="3831920" y="697618"/>
                </a:cubicBezTo>
                <a:cubicBezTo>
                  <a:pt x="3831920" y="697618"/>
                  <a:pt x="3688062" y="675085"/>
                  <a:pt x="3579369" y="675085"/>
                </a:cubicBezTo>
                <a:cubicBezTo>
                  <a:pt x="3470676" y="675085"/>
                  <a:pt x="3416330" y="687961"/>
                  <a:pt x="3419527" y="729809"/>
                </a:cubicBezTo>
                <a:cubicBezTo>
                  <a:pt x="3419527" y="758781"/>
                  <a:pt x="3454692" y="774877"/>
                  <a:pt x="3521826" y="778096"/>
                </a:cubicBezTo>
                <a:cubicBezTo>
                  <a:pt x="3617731" y="784534"/>
                  <a:pt x="3876676" y="762000"/>
                  <a:pt x="3876676" y="996994"/>
                </a:cubicBezTo>
                <a:cubicBezTo>
                  <a:pt x="3876676" y="1225550"/>
                  <a:pt x="3566582" y="1212674"/>
                  <a:pt x="3505842" y="1212674"/>
                </a:cubicBezTo>
                <a:cubicBezTo>
                  <a:pt x="3377968" y="1212674"/>
                  <a:pt x="3208535" y="1193359"/>
                  <a:pt x="3208535" y="1193359"/>
                </a:cubicBezTo>
                <a:cubicBezTo>
                  <a:pt x="3208535" y="1193359"/>
                  <a:pt x="3208535" y="1193359"/>
                  <a:pt x="3208535" y="1032404"/>
                </a:cubicBezTo>
                <a:cubicBezTo>
                  <a:pt x="3208535" y="1032404"/>
                  <a:pt x="3326818" y="1064595"/>
                  <a:pt x="3451495" y="1064595"/>
                </a:cubicBezTo>
                <a:cubicBezTo>
                  <a:pt x="3576172" y="1064595"/>
                  <a:pt x="3656094" y="1054938"/>
                  <a:pt x="3649700" y="1006652"/>
                </a:cubicBezTo>
                <a:cubicBezTo>
                  <a:pt x="3646503" y="974461"/>
                  <a:pt x="3604944" y="964803"/>
                  <a:pt x="3560188" y="964803"/>
                </a:cubicBezTo>
                <a:cubicBezTo>
                  <a:pt x="3448299" y="964803"/>
                  <a:pt x="3182960" y="958365"/>
                  <a:pt x="3179763" y="749124"/>
                </a:cubicBezTo>
                <a:cubicBezTo>
                  <a:pt x="3179763" y="533444"/>
                  <a:pt x="3448299" y="536663"/>
                  <a:pt x="3505842" y="533444"/>
                </a:cubicBezTo>
                <a:close/>
                <a:moveTo>
                  <a:pt x="2179638" y="476250"/>
                </a:moveTo>
                <a:cubicBezTo>
                  <a:pt x="2179638" y="476250"/>
                  <a:pt x="2179638" y="476250"/>
                  <a:pt x="2182834" y="476250"/>
                </a:cubicBezTo>
                <a:cubicBezTo>
                  <a:pt x="2192424" y="547040"/>
                  <a:pt x="2230782" y="695055"/>
                  <a:pt x="2368233" y="810892"/>
                </a:cubicBezTo>
                <a:cubicBezTo>
                  <a:pt x="2467325" y="604959"/>
                  <a:pt x="2499290" y="556693"/>
                  <a:pt x="2499290" y="556693"/>
                </a:cubicBezTo>
                <a:cubicBezTo>
                  <a:pt x="2499290" y="556693"/>
                  <a:pt x="2499290" y="556693"/>
                  <a:pt x="2812550" y="556693"/>
                </a:cubicBezTo>
                <a:cubicBezTo>
                  <a:pt x="2812550" y="556693"/>
                  <a:pt x="2841319" y="604959"/>
                  <a:pt x="2962787" y="855940"/>
                </a:cubicBezTo>
                <a:cubicBezTo>
                  <a:pt x="3097041" y="1132664"/>
                  <a:pt x="3122613" y="1193800"/>
                  <a:pt x="3122613" y="1193800"/>
                </a:cubicBezTo>
                <a:cubicBezTo>
                  <a:pt x="3122613" y="1193800"/>
                  <a:pt x="3122613" y="1193800"/>
                  <a:pt x="2918035" y="1193800"/>
                </a:cubicBezTo>
                <a:cubicBezTo>
                  <a:pt x="2918035" y="1193800"/>
                  <a:pt x="2918035" y="1193800"/>
                  <a:pt x="2652724" y="720796"/>
                </a:cubicBezTo>
                <a:cubicBezTo>
                  <a:pt x="2652724" y="720796"/>
                  <a:pt x="2652724" y="720796"/>
                  <a:pt x="2550435" y="907424"/>
                </a:cubicBezTo>
                <a:cubicBezTo>
                  <a:pt x="2617562" y="929948"/>
                  <a:pt x="2662313" y="926730"/>
                  <a:pt x="2662313" y="926730"/>
                </a:cubicBezTo>
                <a:cubicBezTo>
                  <a:pt x="2662313" y="926730"/>
                  <a:pt x="2662313" y="926730"/>
                  <a:pt x="2662313" y="1103704"/>
                </a:cubicBezTo>
                <a:cubicBezTo>
                  <a:pt x="2662313" y="1103704"/>
                  <a:pt x="2563221" y="1106922"/>
                  <a:pt x="2460932" y="1068309"/>
                </a:cubicBezTo>
                <a:cubicBezTo>
                  <a:pt x="2460932" y="1068309"/>
                  <a:pt x="2460932" y="1068309"/>
                  <a:pt x="2393805" y="1193800"/>
                </a:cubicBezTo>
                <a:cubicBezTo>
                  <a:pt x="2393805" y="1193800"/>
                  <a:pt x="2393805" y="1193800"/>
                  <a:pt x="2189227" y="1193800"/>
                </a:cubicBezTo>
                <a:cubicBezTo>
                  <a:pt x="2189227" y="1193800"/>
                  <a:pt x="2205210" y="1155188"/>
                  <a:pt x="2294713" y="965343"/>
                </a:cubicBezTo>
                <a:cubicBezTo>
                  <a:pt x="2202013" y="865593"/>
                  <a:pt x="2179638" y="749756"/>
                  <a:pt x="2179638" y="749756"/>
                </a:cubicBezTo>
                <a:cubicBezTo>
                  <a:pt x="2179638" y="749756"/>
                  <a:pt x="2179638" y="749756"/>
                  <a:pt x="2179638" y="476250"/>
                </a:cubicBezTo>
                <a:close/>
                <a:moveTo>
                  <a:pt x="2665413" y="0"/>
                </a:moveTo>
                <a:cubicBezTo>
                  <a:pt x="2665413" y="0"/>
                  <a:pt x="2665413" y="0"/>
                  <a:pt x="2665413" y="199390"/>
                </a:cubicBezTo>
                <a:cubicBezTo>
                  <a:pt x="2476459" y="205822"/>
                  <a:pt x="2341949" y="356972"/>
                  <a:pt x="2313126" y="498475"/>
                </a:cubicBezTo>
                <a:cubicBezTo>
                  <a:pt x="2303518" y="466315"/>
                  <a:pt x="2300315" y="430940"/>
                  <a:pt x="2300315" y="395564"/>
                </a:cubicBezTo>
                <a:cubicBezTo>
                  <a:pt x="2297113" y="260493"/>
                  <a:pt x="2399596" y="32160"/>
                  <a:pt x="2665413" y="0"/>
                </a:cubicBezTo>
                <a:close/>
              </a:path>
            </a:pathLst>
          </a:custGeom>
          <a:solidFill>
            <a:srgbClr val="FFFFFF"/>
          </a:solidFill>
        </p:spPr>
        <p:txBody>
          <a:bodyPr lIns="0" tIns="0" rIns="0" bIns="0">
            <a:norm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EC47C98D-4FAF-4675-81FB-E5A7BA12D88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508516" y="2009571"/>
            <a:ext cx="2438857" cy="2438857"/>
          </a:xfrm>
          <a:custGeom>
            <a:avLst/>
            <a:gdLst>
              <a:gd name="connsiteX0" fmla="*/ 1716150 w 3432299"/>
              <a:gd name="connsiteY0" fmla="*/ 0 h 3432299"/>
              <a:gd name="connsiteX1" fmla="*/ 3432299 w 3432299"/>
              <a:gd name="connsiteY1" fmla="*/ 1716150 h 3432299"/>
              <a:gd name="connsiteX2" fmla="*/ 1716150 w 3432299"/>
              <a:gd name="connsiteY2" fmla="*/ 3432299 h 3432299"/>
              <a:gd name="connsiteX3" fmla="*/ 0 w 3432299"/>
              <a:gd name="connsiteY3" fmla="*/ 1716150 h 3432299"/>
              <a:gd name="connsiteX4" fmla="*/ 1716150 w 3432299"/>
              <a:gd name="connsiteY4" fmla="*/ 0 h 3432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32299" h="3432299">
                <a:moveTo>
                  <a:pt x="1716150" y="0"/>
                </a:moveTo>
                <a:cubicBezTo>
                  <a:pt x="2663953" y="0"/>
                  <a:pt x="3432299" y="768346"/>
                  <a:pt x="3432299" y="1716150"/>
                </a:cubicBezTo>
                <a:cubicBezTo>
                  <a:pt x="3432299" y="2663953"/>
                  <a:pt x="2663953" y="3432299"/>
                  <a:pt x="1716150" y="3432299"/>
                </a:cubicBezTo>
                <a:cubicBezTo>
                  <a:pt x="768346" y="3432299"/>
                  <a:pt x="0" y="2663953"/>
                  <a:pt x="0" y="1716150"/>
                </a:cubicBezTo>
                <a:cubicBezTo>
                  <a:pt x="0" y="768346"/>
                  <a:pt x="768346" y="0"/>
                  <a:pt x="171615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your</a:t>
            </a:r>
            <a:r>
              <a:rPr lang="da-DK" dirty="0"/>
              <a:t> </a:t>
            </a:r>
            <a:r>
              <a:rPr lang="da-DK" dirty="0" err="1"/>
              <a:t>profile</a:t>
            </a:r>
            <a:r>
              <a:rPr lang="da-DK" dirty="0"/>
              <a:t> </a:t>
            </a:r>
            <a:r>
              <a:rPr lang="da-DK" dirty="0" err="1"/>
              <a:t>photo</a:t>
            </a:r>
            <a:endParaRPr lang="da-DK" dirty="0"/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DB094E42-9A37-4B00-9234-25C4C4804530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441287" y="2014036"/>
            <a:ext cx="2438857" cy="2438857"/>
          </a:xfrm>
          <a:custGeom>
            <a:avLst/>
            <a:gdLst>
              <a:gd name="connsiteX0" fmla="*/ 1716150 w 3432299"/>
              <a:gd name="connsiteY0" fmla="*/ 0 h 3432299"/>
              <a:gd name="connsiteX1" fmla="*/ 3432299 w 3432299"/>
              <a:gd name="connsiteY1" fmla="*/ 1716150 h 3432299"/>
              <a:gd name="connsiteX2" fmla="*/ 1716150 w 3432299"/>
              <a:gd name="connsiteY2" fmla="*/ 3432299 h 3432299"/>
              <a:gd name="connsiteX3" fmla="*/ 0 w 3432299"/>
              <a:gd name="connsiteY3" fmla="*/ 1716150 h 3432299"/>
              <a:gd name="connsiteX4" fmla="*/ 1716150 w 3432299"/>
              <a:gd name="connsiteY4" fmla="*/ 0 h 3432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32299" h="3432299">
                <a:moveTo>
                  <a:pt x="1716150" y="0"/>
                </a:moveTo>
                <a:cubicBezTo>
                  <a:pt x="2663953" y="0"/>
                  <a:pt x="3432299" y="768346"/>
                  <a:pt x="3432299" y="1716150"/>
                </a:cubicBezTo>
                <a:cubicBezTo>
                  <a:pt x="3432299" y="2663953"/>
                  <a:pt x="2663953" y="3432299"/>
                  <a:pt x="1716150" y="3432299"/>
                </a:cubicBezTo>
                <a:cubicBezTo>
                  <a:pt x="768346" y="3432299"/>
                  <a:pt x="0" y="2663953"/>
                  <a:pt x="0" y="1716150"/>
                </a:cubicBezTo>
                <a:cubicBezTo>
                  <a:pt x="0" y="768346"/>
                  <a:pt x="768346" y="0"/>
                  <a:pt x="171615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your</a:t>
            </a:r>
            <a:r>
              <a:rPr lang="da-DK" dirty="0"/>
              <a:t> </a:t>
            </a:r>
            <a:r>
              <a:rPr lang="da-DK" dirty="0" err="1"/>
              <a:t>profile</a:t>
            </a:r>
            <a:r>
              <a:rPr lang="da-DK" dirty="0"/>
              <a:t> </a:t>
            </a:r>
            <a:r>
              <a:rPr lang="da-DK" dirty="0" err="1"/>
              <a:t>photo</a:t>
            </a:r>
            <a:endParaRPr lang="da-DK" dirty="0"/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593CB2D3-EFC7-4338-AA06-899062406393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313486" y="2005106"/>
            <a:ext cx="2438857" cy="2438857"/>
          </a:xfrm>
          <a:custGeom>
            <a:avLst/>
            <a:gdLst>
              <a:gd name="connsiteX0" fmla="*/ 1716150 w 3432299"/>
              <a:gd name="connsiteY0" fmla="*/ 0 h 3432299"/>
              <a:gd name="connsiteX1" fmla="*/ 3432299 w 3432299"/>
              <a:gd name="connsiteY1" fmla="*/ 1716150 h 3432299"/>
              <a:gd name="connsiteX2" fmla="*/ 1716150 w 3432299"/>
              <a:gd name="connsiteY2" fmla="*/ 3432299 h 3432299"/>
              <a:gd name="connsiteX3" fmla="*/ 0 w 3432299"/>
              <a:gd name="connsiteY3" fmla="*/ 1716150 h 3432299"/>
              <a:gd name="connsiteX4" fmla="*/ 1716150 w 3432299"/>
              <a:gd name="connsiteY4" fmla="*/ 0 h 3432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32299" h="3432299">
                <a:moveTo>
                  <a:pt x="1716150" y="0"/>
                </a:moveTo>
                <a:cubicBezTo>
                  <a:pt x="2663953" y="0"/>
                  <a:pt x="3432299" y="768346"/>
                  <a:pt x="3432299" y="1716150"/>
                </a:cubicBezTo>
                <a:cubicBezTo>
                  <a:pt x="3432299" y="2663953"/>
                  <a:pt x="2663953" y="3432299"/>
                  <a:pt x="1716150" y="3432299"/>
                </a:cubicBezTo>
                <a:cubicBezTo>
                  <a:pt x="768346" y="3432299"/>
                  <a:pt x="0" y="2663953"/>
                  <a:pt x="0" y="1716150"/>
                </a:cubicBezTo>
                <a:cubicBezTo>
                  <a:pt x="0" y="768346"/>
                  <a:pt x="768346" y="0"/>
                  <a:pt x="171615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your</a:t>
            </a:r>
            <a:r>
              <a:rPr lang="da-DK" dirty="0"/>
              <a:t> </a:t>
            </a:r>
            <a:r>
              <a:rPr lang="da-DK" dirty="0" err="1"/>
              <a:t>profile</a:t>
            </a:r>
            <a:r>
              <a:rPr lang="da-DK" dirty="0"/>
              <a:t> </a:t>
            </a:r>
            <a:r>
              <a:rPr lang="da-DK" dirty="0" err="1"/>
              <a:t>photo</a:t>
            </a:r>
            <a:endParaRPr lang="da-DK" dirty="0"/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C18D02F3-399A-493B-8D9C-01466A1940F7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9246257" y="2009571"/>
            <a:ext cx="2438857" cy="2438857"/>
          </a:xfrm>
          <a:custGeom>
            <a:avLst/>
            <a:gdLst>
              <a:gd name="connsiteX0" fmla="*/ 1716150 w 3432299"/>
              <a:gd name="connsiteY0" fmla="*/ 0 h 3432299"/>
              <a:gd name="connsiteX1" fmla="*/ 3432299 w 3432299"/>
              <a:gd name="connsiteY1" fmla="*/ 1716150 h 3432299"/>
              <a:gd name="connsiteX2" fmla="*/ 1716150 w 3432299"/>
              <a:gd name="connsiteY2" fmla="*/ 3432299 h 3432299"/>
              <a:gd name="connsiteX3" fmla="*/ 0 w 3432299"/>
              <a:gd name="connsiteY3" fmla="*/ 1716150 h 3432299"/>
              <a:gd name="connsiteX4" fmla="*/ 1716150 w 3432299"/>
              <a:gd name="connsiteY4" fmla="*/ 0 h 3432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32299" h="3432299">
                <a:moveTo>
                  <a:pt x="1716150" y="0"/>
                </a:moveTo>
                <a:cubicBezTo>
                  <a:pt x="2663953" y="0"/>
                  <a:pt x="3432299" y="768346"/>
                  <a:pt x="3432299" y="1716150"/>
                </a:cubicBezTo>
                <a:cubicBezTo>
                  <a:pt x="3432299" y="2663953"/>
                  <a:pt x="2663953" y="3432299"/>
                  <a:pt x="1716150" y="3432299"/>
                </a:cubicBezTo>
                <a:cubicBezTo>
                  <a:pt x="768346" y="3432299"/>
                  <a:pt x="0" y="2663953"/>
                  <a:pt x="0" y="1716150"/>
                </a:cubicBezTo>
                <a:cubicBezTo>
                  <a:pt x="0" y="768346"/>
                  <a:pt x="768346" y="0"/>
                  <a:pt x="171615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your</a:t>
            </a:r>
            <a:r>
              <a:rPr lang="da-DK" dirty="0"/>
              <a:t> </a:t>
            </a:r>
            <a:r>
              <a:rPr lang="da-DK" dirty="0" err="1"/>
              <a:t>profile</a:t>
            </a:r>
            <a:r>
              <a:rPr lang="da-DK" dirty="0"/>
              <a:t> </a:t>
            </a:r>
            <a:r>
              <a:rPr lang="da-DK" dirty="0" err="1"/>
              <a:t>photo</a:t>
            </a:r>
            <a:endParaRPr lang="da-DK" dirty="0"/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E74AD59E-A423-4B11-A9D8-860D9ED84A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400" y="36000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a-DK" dirty="0"/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1EE3518A-31DE-4BA4-B16D-9E6E3BD2219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4224" y="1188143"/>
            <a:ext cx="5273589" cy="6197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Get in touch with us</a:t>
            </a:r>
          </a:p>
          <a:p>
            <a:pPr lvl="0"/>
            <a:endParaRPr lang="en-US" dirty="0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27196662-DAC2-4CA1-930C-3729480FED1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61560" y="4575196"/>
            <a:ext cx="2932771" cy="159519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r>
              <a:rPr lang="en-US" dirty="0"/>
              <a:t>, Title </a:t>
            </a:r>
            <a:br>
              <a:rPr lang="en-US" dirty="0"/>
            </a:br>
            <a:r>
              <a:rPr lang="en-US" dirty="0"/>
              <a:t>Area of expertise</a:t>
            </a:r>
            <a:br>
              <a:rPr lang="en-US" dirty="0"/>
            </a:br>
            <a:r>
              <a:rPr lang="en-US" dirty="0" err="1"/>
              <a:t>Email@dress</a:t>
            </a:r>
            <a:br>
              <a:rPr lang="en-US" dirty="0"/>
            </a:br>
            <a:r>
              <a:rPr lang="en-US" dirty="0"/>
              <a:t>Phone number</a:t>
            </a:r>
          </a:p>
          <a:p>
            <a:pPr lvl="0"/>
            <a:endParaRPr lang="en-US" dirty="0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488BFC77-7CFE-4B3B-946E-04A84656BC8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94331" y="4579661"/>
            <a:ext cx="2932771" cy="159519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r>
              <a:rPr lang="en-US" dirty="0"/>
              <a:t>, Title </a:t>
            </a:r>
            <a:br>
              <a:rPr lang="en-US" dirty="0"/>
            </a:br>
            <a:r>
              <a:rPr lang="en-US" dirty="0"/>
              <a:t>Area of expertise</a:t>
            </a:r>
            <a:br>
              <a:rPr lang="en-US" dirty="0"/>
            </a:br>
            <a:r>
              <a:rPr lang="en-US" dirty="0" err="1"/>
              <a:t>Email@dress</a:t>
            </a:r>
            <a:br>
              <a:rPr lang="en-US" dirty="0"/>
            </a:br>
            <a:r>
              <a:rPr lang="en-US" dirty="0"/>
              <a:t>Phone number</a:t>
            </a:r>
          </a:p>
          <a:p>
            <a:pPr lvl="0"/>
            <a:endParaRPr lang="en-US" dirty="0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23E95A0A-5895-4DE1-9E81-3CB2EC1F7D2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66530" y="4570731"/>
            <a:ext cx="2932771" cy="159519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r>
              <a:rPr lang="en-US" dirty="0"/>
              <a:t>, Title </a:t>
            </a:r>
            <a:br>
              <a:rPr lang="en-US" dirty="0"/>
            </a:br>
            <a:r>
              <a:rPr lang="en-US" dirty="0"/>
              <a:t>Area of expertise</a:t>
            </a:r>
            <a:br>
              <a:rPr lang="en-US" dirty="0"/>
            </a:br>
            <a:r>
              <a:rPr lang="en-US" dirty="0" err="1"/>
              <a:t>Email@dress</a:t>
            </a:r>
            <a:br>
              <a:rPr lang="en-US" dirty="0"/>
            </a:br>
            <a:r>
              <a:rPr lang="en-US" dirty="0"/>
              <a:t>Phone number</a:t>
            </a:r>
          </a:p>
          <a:p>
            <a:pPr lvl="0"/>
            <a:endParaRPr lang="en-US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D31E9205-4001-4C76-9474-A0F6D15DAD6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999301" y="4575196"/>
            <a:ext cx="2932771" cy="159519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Name </a:t>
            </a:r>
            <a:r>
              <a:rPr lang="en-US" dirty="0" err="1"/>
              <a:t>name</a:t>
            </a:r>
            <a:r>
              <a:rPr lang="en-US" dirty="0"/>
              <a:t>, Title </a:t>
            </a:r>
            <a:br>
              <a:rPr lang="en-US" dirty="0"/>
            </a:br>
            <a:r>
              <a:rPr lang="en-US" dirty="0"/>
              <a:t>Area of expertise</a:t>
            </a:r>
            <a:br>
              <a:rPr lang="en-US" dirty="0"/>
            </a:br>
            <a:r>
              <a:rPr lang="en-US" dirty="0" err="1"/>
              <a:t>Email@dress</a:t>
            </a:r>
            <a:br>
              <a:rPr lang="en-US" dirty="0"/>
            </a:br>
            <a:r>
              <a:rPr lang="en-US" dirty="0"/>
              <a:t>Phone number</a:t>
            </a:r>
          </a:p>
          <a:p>
            <a:pPr lvl="0"/>
            <a:endParaRPr lang="en-US" dirty="0"/>
          </a:p>
        </p:txBody>
      </p:sp>
      <p:sp>
        <p:nvSpPr>
          <p:cNvPr id="16" name="Shape 2587">
            <a:extLst>
              <a:ext uri="{FF2B5EF4-FFF2-40B4-BE49-F238E27FC236}">
                <a16:creationId xmlns:a16="http://schemas.microsoft.com/office/drawing/2014/main" id="{2AC0757B-1B1B-4168-95D9-52A605B652A6}"/>
              </a:ext>
            </a:extLst>
          </p:cNvPr>
          <p:cNvSpPr/>
          <p:nvPr/>
        </p:nvSpPr>
        <p:spPr>
          <a:xfrm>
            <a:off x="672525" y="5239721"/>
            <a:ext cx="304875" cy="30487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281" y="19846"/>
                </a:moveTo>
                <a:lnTo>
                  <a:pt x="9413" y="12882"/>
                </a:lnTo>
                <a:lnTo>
                  <a:pt x="19655" y="2640"/>
                </a:lnTo>
                <a:cubicBezTo>
                  <a:pt x="19655" y="2640"/>
                  <a:pt x="12281" y="19846"/>
                  <a:pt x="12281" y="19846"/>
                </a:cubicBezTo>
                <a:close/>
                <a:moveTo>
                  <a:pt x="1755" y="9320"/>
                </a:moveTo>
                <a:lnTo>
                  <a:pt x="18960" y="1945"/>
                </a:lnTo>
                <a:lnTo>
                  <a:pt x="8719" y="12187"/>
                </a:lnTo>
                <a:cubicBezTo>
                  <a:pt x="8719" y="12187"/>
                  <a:pt x="1755" y="9320"/>
                  <a:pt x="1755" y="9320"/>
                </a:cubicBezTo>
                <a:close/>
                <a:moveTo>
                  <a:pt x="21600" y="491"/>
                </a:moveTo>
                <a:cubicBezTo>
                  <a:pt x="21600" y="220"/>
                  <a:pt x="21380" y="0"/>
                  <a:pt x="21109" y="0"/>
                </a:cubicBezTo>
                <a:cubicBezTo>
                  <a:pt x="21034" y="0"/>
                  <a:pt x="20964" y="20"/>
                  <a:pt x="20900" y="52"/>
                </a:cubicBezTo>
                <a:lnTo>
                  <a:pt x="20898" y="48"/>
                </a:lnTo>
                <a:lnTo>
                  <a:pt x="302" y="8875"/>
                </a:lnTo>
                <a:cubicBezTo>
                  <a:pt x="301" y="8875"/>
                  <a:pt x="299" y="8876"/>
                  <a:pt x="297" y="8877"/>
                </a:cubicBezTo>
                <a:lnTo>
                  <a:pt x="280" y="8885"/>
                </a:lnTo>
                <a:lnTo>
                  <a:pt x="281" y="8887"/>
                </a:lnTo>
                <a:cubicBezTo>
                  <a:pt x="116" y="8967"/>
                  <a:pt x="0" y="9132"/>
                  <a:pt x="0" y="9327"/>
                </a:cubicBezTo>
                <a:cubicBezTo>
                  <a:pt x="0" y="9550"/>
                  <a:pt x="151" y="9731"/>
                  <a:pt x="355" y="9791"/>
                </a:cubicBezTo>
                <a:lnTo>
                  <a:pt x="353" y="9799"/>
                </a:lnTo>
                <a:lnTo>
                  <a:pt x="8462" y="13138"/>
                </a:lnTo>
                <a:lnTo>
                  <a:pt x="11801" y="21248"/>
                </a:lnTo>
                <a:lnTo>
                  <a:pt x="11809" y="21245"/>
                </a:lnTo>
                <a:cubicBezTo>
                  <a:pt x="11869" y="21449"/>
                  <a:pt x="12050" y="21600"/>
                  <a:pt x="12273" y="21600"/>
                </a:cubicBezTo>
                <a:cubicBezTo>
                  <a:pt x="12468" y="21600"/>
                  <a:pt x="12634" y="21484"/>
                  <a:pt x="12713" y="21319"/>
                </a:cubicBezTo>
                <a:lnTo>
                  <a:pt x="12716" y="21320"/>
                </a:lnTo>
                <a:lnTo>
                  <a:pt x="12723" y="21303"/>
                </a:lnTo>
                <a:cubicBezTo>
                  <a:pt x="12724" y="21301"/>
                  <a:pt x="12725" y="21300"/>
                  <a:pt x="12725" y="21298"/>
                </a:cubicBezTo>
                <a:lnTo>
                  <a:pt x="21553" y="702"/>
                </a:lnTo>
                <a:lnTo>
                  <a:pt x="21547" y="699"/>
                </a:lnTo>
                <a:cubicBezTo>
                  <a:pt x="21578" y="636"/>
                  <a:pt x="21600" y="567"/>
                  <a:pt x="21600" y="491"/>
                </a:cubicBezTo>
                <a:moveTo>
                  <a:pt x="7855" y="16200"/>
                </a:moveTo>
                <a:cubicBezTo>
                  <a:pt x="7719" y="16200"/>
                  <a:pt x="7596" y="16255"/>
                  <a:pt x="7507" y="16344"/>
                </a:cubicBezTo>
                <a:lnTo>
                  <a:pt x="6035" y="17817"/>
                </a:lnTo>
                <a:cubicBezTo>
                  <a:pt x="5946" y="17905"/>
                  <a:pt x="5891" y="18029"/>
                  <a:pt x="5891" y="18164"/>
                </a:cubicBezTo>
                <a:cubicBezTo>
                  <a:pt x="5891" y="18435"/>
                  <a:pt x="6111" y="18655"/>
                  <a:pt x="6382" y="18655"/>
                </a:cubicBezTo>
                <a:cubicBezTo>
                  <a:pt x="6517" y="18655"/>
                  <a:pt x="6640" y="18600"/>
                  <a:pt x="6729" y="18511"/>
                </a:cubicBezTo>
                <a:lnTo>
                  <a:pt x="8202" y="17038"/>
                </a:lnTo>
                <a:cubicBezTo>
                  <a:pt x="8291" y="16950"/>
                  <a:pt x="8345" y="16827"/>
                  <a:pt x="8345" y="16691"/>
                </a:cubicBezTo>
                <a:cubicBezTo>
                  <a:pt x="8345" y="16420"/>
                  <a:pt x="8126" y="16200"/>
                  <a:pt x="7855" y="16200"/>
                </a:cubicBezTo>
                <a:moveTo>
                  <a:pt x="7855" y="14237"/>
                </a:moveTo>
                <a:cubicBezTo>
                  <a:pt x="7855" y="13966"/>
                  <a:pt x="7635" y="13745"/>
                  <a:pt x="7364" y="13745"/>
                </a:cubicBezTo>
                <a:cubicBezTo>
                  <a:pt x="7228" y="13745"/>
                  <a:pt x="7105" y="13801"/>
                  <a:pt x="7017" y="13889"/>
                </a:cubicBezTo>
                <a:lnTo>
                  <a:pt x="2107" y="18798"/>
                </a:lnTo>
                <a:cubicBezTo>
                  <a:pt x="2019" y="18888"/>
                  <a:pt x="1964" y="19011"/>
                  <a:pt x="1964" y="19145"/>
                </a:cubicBezTo>
                <a:cubicBezTo>
                  <a:pt x="1964" y="19417"/>
                  <a:pt x="2184" y="19636"/>
                  <a:pt x="2455" y="19636"/>
                </a:cubicBezTo>
                <a:cubicBezTo>
                  <a:pt x="2590" y="19636"/>
                  <a:pt x="2713" y="19582"/>
                  <a:pt x="2802" y="19493"/>
                </a:cubicBezTo>
                <a:lnTo>
                  <a:pt x="7711" y="14583"/>
                </a:lnTo>
                <a:cubicBezTo>
                  <a:pt x="7800" y="14495"/>
                  <a:pt x="7855" y="14372"/>
                  <a:pt x="7855" y="14237"/>
                </a:cubicBezTo>
                <a:moveTo>
                  <a:pt x="4765" y="14583"/>
                </a:moveTo>
                <a:lnTo>
                  <a:pt x="5256" y="14093"/>
                </a:lnTo>
                <a:cubicBezTo>
                  <a:pt x="5345" y="14004"/>
                  <a:pt x="5400" y="13881"/>
                  <a:pt x="5400" y="13745"/>
                </a:cubicBezTo>
                <a:cubicBezTo>
                  <a:pt x="5400" y="13475"/>
                  <a:pt x="5180" y="13255"/>
                  <a:pt x="4909" y="13255"/>
                </a:cubicBezTo>
                <a:cubicBezTo>
                  <a:pt x="4774" y="13255"/>
                  <a:pt x="4651" y="13310"/>
                  <a:pt x="4562" y="13398"/>
                </a:cubicBezTo>
                <a:lnTo>
                  <a:pt x="4071" y="13889"/>
                </a:lnTo>
                <a:cubicBezTo>
                  <a:pt x="3982" y="13979"/>
                  <a:pt x="3927" y="14101"/>
                  <a:pt x="3927" y="14237"/>
                </a:cubicBezTo>
                <a:cubicBezTo>
                  <a:pt x="3927" y="14507"/>
                  <a:pt x="4147" y="14727"/>
                  <a:pt x="4418" y="14727"/>
                </a:cubicBezTo>
                <a:cubicBezTo>
                  <a:pt x="4554" y="14727"/>
                  <a:pt x="4676" y="14673"/>
                  <a:pt x="4765" y="14583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17" name="Shape 2628">
            <a:extLst>
              <a:ext uri="{FF2B5EF4-FFF2-40B4-BE49-F238E27FC236}">
                <a16:creationId xmlns:a16="http://schemas.microsoft.com/office/drawing/2014/main" id="{6320B7D2-45AD-4B2D-9D28-1F0139769C8E}"/>
              </a:ext>
            </a:extLst>
          </p:cNvPr>
          <p:cNvSpPr/>
          <p:nvPr/>
        </p:nvSpPr>
        <p:spPr>
          <a:xfrm>
            <a:off x="2494597" y="5544596"/>
            <a:ext cx="261569" cy="29267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445" y="20618"/>
                </a:moveTo>
                <a:cubicBezTo>
                  <a:pt x="15830" y="20618"/>
                  <a:pt x="15230" y="20482"/>
                  <a:pt x="14664" y="20214"/>
                </a:cubicBezTo>
                <a:cubicBezTo>
                  <a:pt x="14611" y="20189"/>
                  <a:pt x="14556" y="20170"/>
                  <a:pt x="14501" y="20155"/>
                </a:cubicBezTo>
                <a:cubicBezTo>
                  <a:pt x="8920" y="17308"/>
                  <a:pt x="4296" y="12685"/>
                  <a:pt x="1448" y="7105"/>
                </a:cubicBezTo>
                <a:cubicBezTo>
                  <a:pt x="1432" y="7048"/>
                  <a:pt x="1412" y="6991"/>
                  <a:pt x="1386" y="6936"/>
                </a:cubicBezTo>
                <a:cubicBezTo>
                  <a:pt x="1118" y="6369"/>
                  <a:pt x="982" y="5770"/>
                  <a:pt x="982" y="5155"/>
                </a:cubicBezTo>
                <a:cubicBezTo>
                  <a:pt x="982" y="2774"/>
                  <a:pt x="3067" y="982"/>
                  <a:pt x="4418" y="982"/>
                </a:cubicBezTo>
                <a:cubicBezTo>
                  <a:pt x="4595" y="982"/>
                  <a:pt x="4712" y="1072"/>
                  <a:pt x="4765" y="1126"/>
                </a:cubicBezTo>
                <a:cubicBezTo>
                  <a:pt x="4777" y="1139"/>
                  <a:pt x="4800" y="1164"/>
                  <a:pt x="4832" y="1216"/>
                </a:cubicBezTo>
                <a:cubicBezTo>
                  <a:pt x="4849" y="1244"/>
                  <a:pt x="4868" y="1271"/>
                  <a:pt x="4888" y="1297"/>
                </a:cubicBezTo>
                <a:lnTo>
                  <a:pt x="8121" y="5453"/>
                </a:lnTo>
                <a:cubicBezTo>
                  <a:pt x="8146" y="5485"/>
                  <a:pt x="8173" y="5515"/>
                  <a:pt x="8202" y="5544"/>
                </a:cubicBezTo>
                <a:cubicBezTo>
                  <a:pt x="8255" y="5598"/>
                  <a:pt x="8345" y="5715"/>
                  <a:pt x="8345" y="5891"/>
                </a:cubicBezTo>
                <a:cubicBezTo>
                  <a:pt x="8345" y="5978"/>
                  <a:pt x="8321" y="6060"/>
                  <a:pt x="8274" y="6135"/>
                </a:cubicBezTo>
                <a:lnTo>
                  <a:pt x="7180" y="7221"/>
                </a:lnTo>
                <a:cubicBezTo>
                  <a:pt x="7175" y="7226"/>
                  <a:pt x="7170" y="7231"/>
                  <a:pt x="7165" y="7236"/>
                </a:cubicBezTo>
                <a:cubicBezTo>
                  <a:pt x="6769" y="7609"/>
                  <a:pt x="6543" y="8126"/>
                  <a:pt x="6543" y="8668"/>
                </a:cubicBezTo>
                <a:cubicBezTo>
                  <a:pt x="6543" y="9175"/>
                  <a:pt x="6740" y="9658"/>
                  <a:pt x="7082" y="10020"/>
                </a:cubicBezTo>
                <a:cubicBezTo>
                  <a:pt x="7094" y="10040"/>
                  <a:pt x="7107" y="10059"/>
                  <a:pt x="7121" y="10078"/>
                </a:cubicBezTo>
                <a:cubicBezTo>
                  <a:pt x="8327" y="11745"/>
                  <a:pt x="9810" y="13222"/>
                  <a:pt x="11528" y="14469"/>
                </a:cubicBezTo>
                <a:cubicBezTo>
                  <a:pt x="11541" y="14478"/>
                  <a:pt x="11555" y="14487"/>
                  <a:pt x="11568" y="14496"/>
                </a:cubicBezTo>
                <a:cubicBezTo>
                  <a:pt x="11931" y="14844"/>
                  <a:pt x="12418" y="15045"/>
                  <a:pt x="12928" y="15045"/>
                </a:cubicBezTo>
                <a:cubicBezTo>
                  <a:pt x="13440" y="15045"/>
                  <a:pt x="13934" y="14840"/>
                  <a:pt x="14301" y="14479"/>
                </a:cubicBezTo>
                <a:cubicBezTo>
                  <a:pt x="14320" y="14463"/>
                  <a:pt x="14338" y="14446"/>
                  <a:pt x="14356" y="14427"/>
                </a:cubicBezTo>
                <a:lnTo>
                  <a:pt x="15456" y="13320"/>
                </a:lnTo>
                <a:cubicBezTo>
                  <a:pt x="15533" y="13271"/>
                  <a:pt x="15615" y="13247"/>
                  <a:pt x="15701" y="13247"/>
                </a:cubicBezTo>
                <a:cubicBezTo>
                  <a:pt x="15878" y="13247"/>
                  <a:pt x="15995" y="13337"/>
                  <a:pt x="16048" y="13391"/>
                </a:cubicBezTo>
                <a:cubicBezTo>
                  <a:pt x="16077" y="13420"/>
                  <a:pt x="16108" y="13447"/>
                  <a:pt x="16140" y="13472"/>
                </a:cubicBezTo>
                <a:lnTo>
                  <a:pt x="20296" y="16704"/>
                </a:lnTo>
                <a:cubicBezTo>
                  <a:pt x="20323" y="16725"/>
                  <a:pt x="20351" y="16744"/>
                  <a:pt x="20379" y="16762"/>
                </a:cubicBezTo>
                <a:cubicBezTo>
                  <a:pt x="20431" y="16795"/>
                  <a:pt x="20455" y="16816"/>
                  <a:pt x="20466" y="16827"/>
                </a:cubicBezTo>
                <a:cubicBezTo>
                  <a:pt x="20520" y="16881"/>
                  <a:pt x="20610" y="16997"/>
                  <a:pt x="20610" y="17174"/>
                </a:cubicBezTo>
                <a:cubicBezTo>
                  <a:pt x="20610" y="17207"/>
                  <a:pt x="20612" y="17240"/>
                  <a:pt x="20616" y="17273"/>
                </a:cubicBezTo>
                <a:cubicBezTo>
                  <a:pt x="20539" y="18625"/>
                  <a:pt x="18774" y="20618"/>
                  <a:pt x="16445" y="20618"/>
                </a:cubicBezTo>
                <a:moveTo>
                  <a:pt x="21600" y="17174"/>
                </a:moveTo>
                <a:lnTo>
                  <a:pt x="21592" y="17174"/>
                </a:lnTo>
                <a:cubicBezTo>
                  <a:pt x="21592" y="16768"/>
                  <a:pt x="21427" y="16399"/>
                  <a:pt x="21161" y="16133"/>
                </a:cubicBezTo>
                <a:cubicBezTo>
                  <a:pt x="21082" y="16054"/>
                  <a:pt x="20994" y="15988"/>
                  <a:pt x="20899" y="15929"/>
                </a:cubicBezTo>
                <a:lnTo>
                  <a:pt x="16743" y="12697"/>
                </a:lnTo>
                <a:cubicBezTo>
                  <a:pt x="16476" y="12430"/>
                  <a:pt x="16108" y="12265"/>
                  <a:pt x="15701" y="12265"/>
                </a:cubicBezTo>
                <a:cubicBezTo>
                  <a:pt x="15368" y="12265"/>
                  <a:pt x="15065" y="12380"/>
                  <a:pt x="14819" y="12567"/>
                </a:cubicBezTo>
                <a:lnTo>
                  <a:pt x="13659" y="13736"/>
                </a:lnTo>
                <a:lnTo>
                  <a:pt x="13656" y="13733"/>
                </a:lnTo>
                <a:cubicBezTo>
                  <a:pt x="13477" y="13934"/>
                  <a:pt x="13218" y="14063"/>
                  <a:pt x="12928" y="14063"/>
                </a:cubicBezTo>
                <a:cubicBezTo>
                  <a:pt x="12595" y="14063"/>
                  <a:pt x="12303" y="13897"/>
                  <a:pt x="12125" y="13645"/>
                </a:cubicBezTo>
                <a:cubicBezTo>
                  <a:pt x="12119" y="13654"/>
                  <a:pt x="12111" y="13663"/>
                  <a:pt x="12104" y="13674"/>
                </a:cubicBezTo>
                <a:cubicBezTo>
                  <a:pt x="10500" y="12510"/>
                  <a:pt x="9078" y="11108"/>
                  <a:pt x="7916" y="9502"/>
                </a:cubicBezTo>
                <a:cubicBezTo>
                  <a:pt x="7927" y="9495"/>
                  <a:pt x="7937" y="9486"/>
                  <a:pt x="7949" y="9479"/>
                </a:cubicBezTo>
                <a:cubicBezTo>
                  <a:pt x="7693" y="9299"/>
                  <a:pt x="7525" y="9004"/>
                  <a:pt x="7525" y="8668"/>
                </a:cubicBezTo>
                <a:cubicBezTo>
                  <a:pt x="7525" y="8367"/>
                  <a:pt x="7662" y="8101"/>
                  <a:pt x="7873" y="7920"/>
                </a:cubicBezTo>
                <a:lnTo>
                  <a:pt x="7872" y="7918"/>
                </a:lnTo>
                <a:lnTo>
                  <a:pt x="9026" y="6773"/>
                </a:lnTo>
                <a:cubicBezTo>
                  <a:pt x="9213" y="6528"/>
                  <a:pt x="9327" y="6224"/>
                  <a:pt x="9327" y="5891"/>
                </a:cubicBezTo>
                <a:cubicBezTo>
                  <a:pt x="9327" y="5485"/>
                  <a:pt x="9162" y="5116"/>
                  <a:pt x="8896" y="4850"/>
                </a:cubicBezTo>
                <a:lnTo>
                  <a:pt x="5663" y="693"/>
                </a:lnTo>
                <a:cubicBezTo>
                  <a:pt x="5604" y="599"/>
                  <a:pt x="5538" y="510"/>
                  <a:pt x="5459" y="432"/>
                </a:cubicBezTo>
                <a:cubicBezTo>
                  <a:pt x="5193" y="165"/>
                  <a:pt x="4825" y="0"/>
                  <a:pt x="4418" y="0"/>
                </a:cubicBezTo>
                <a:cubicBezTo>
                  <a:pt x="2455" y="0"/>
                  <a:pt x="0" y="2308"/>
                  <a:pt x="0" y="5155"/>
                </a:cubicBezTo>
                <a:cubicBezTo>
                  <a:pt x="0" y="5943"/>
                  <a:pt x="183" y="6688"/>
                  <a:pt x="499" y="7356"/>
                </a:cubicBezTo>
                <a:lnTo>
                  <a:pt x="483" y="7373"/>
                </a:lnTo>
                <a:cubicBezTo>
                  <a:pt x="3436" y="13255"/>
                  <a:pt x="8345" y="18164"/>
                  <a:pt x="14228" y="21117"/>
                </a:cubicBezTo>
                <a:lnTo>
                  <a:pt x="14244" y="21101"/>
                </a:lnTo>
                <a:cubicBezTo>
                  <a:pt x="14912" y="21418"/>
                  <a:pt x="15657" y="21600"/>
                  <a:pt x="16445" y="21600"/>
                </a:cubicBezTo>
                <a:cubicBezTo>
                  <a:pt x="19292" y="21600"/>
                  <a:pt x="21600" y="19145"/>
                  <a:pt x="21600" y="17182"/>
                </a:cubicBezTo>
                <a:cubicBezTo>
                  <a:pt x="21600" y="17179"/>
                  <a:pt x="21600" y="17177"/>
                  <a:pt x="21600" y="17174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18" name="Shape 2587">
            <a:extLst>
              <a:ext uri="{FF2B5EF4-FFF2-40B4-BE49-F238E27FC236}">
                <a16:creationId xmlns:a16="http://schemas.microsoft.com/office/drawing/2014/main" id="{08DCA66B-E816-4942-9233-259ADAB80C5B}"/>
              </a:ext>
            </a:extLst>
          </p:cNvPr>
          <p:cNvSpPr/>
          <p:nvPr/>
        </p:nvSpPr>
        <p:spPr>
          <a:xfrm>
            <a:off x="3589190" y="5239721"/>
            <a:ext cx="304875" cy="30487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281" y="19846"/>
                </a:moveTo>
                <a:lnTo>
                  <a:pt x="9413" y="12882"/>
                </a:lnTo>
                <a:lnTo>
                  <a:pt x="19655" y="2640"/>
                </a:lnTo>
                <a:cubicBezTo>
                  <a:pt x="19655" y="2640"/>
                  <a:pt x="12281" y="19846"/>
                  <a:pt x="12281" y="19846"/>
                </a:cubicBezTo>
                <a:close/>
                <a:moveTo>
                  <a:pt x="1755" y="9320"/>
                </a:moveTo>
                <a:lnTo>
                  <a:pt x="18960" y="1945"/>
                </a:lnTo>
                <a:lnTo>
                  <a:pt x="8719" y="12187"/>
                </a:lnTo>
                <a:cubicBezTo>
                  <a:pt x="8719" y="12187"/>
                  <a:pt x="1755" y="9320"/>
                  <a:pt x="1755" y="9320"/>
                </a:cubicBezTo>
                <a:close/>
                <a:moveTo>
                  <a:pt x="21600" y="491"/>
                </a:moveTo>
                <a:cubicBezTo>
                  <a:pt x="21600" y="220"/>
                  <a:pt x="21380" y="0"/>
                  <a:pt x="21109" y="0"/>
                </a:cubicBezTo>
                <a:cubicBezTo>
                  <a:pt x="21034" y="0"/>
                  <a:pt x="20964" y="20"/>
                  <a:pt x="20900" y="52"/>
                </a:cubicBezTo>
                <a:lnTo>
                  <a:pt x="20898" y="48"/>
                </a:lnTo>
                <a:lnTo>
                  <a:pt x="302" y="8875"/>
                </a:lnTo>
                <a:cubicBezTo>
                  <a:pt x="301" y="8875"/>
                  <a:pt x="299" y="8876"/>
                  <a:pt x="297" y="8877"/>
                </a:cubicBezTo>
                <a:lnTo>
                  <a:pt x="280" y="8885"/>
                </a:lnTo>
                <a:lnTo>
                  <a:pt x="281" y="8887"/>
                </a:lnTo>
                <a:cubicBezTo>
                  <a:pt x="116" y="8967"/>
                  <a:pt x="0" y="9132"/>
                  <a:pt x="0" y="9327"/>
                </a:cubicBezTo>
                <a:cubicBezTo>
                  <a:pt x="0" y="9550"/>
                  <a:pt x="151" y="9731"/>
                  <a:pt x="355" y="9791"/>
                </a:cubicBezTo>
                <a:lnTo>
                  <a:pt x="353" y="9799"/>
                </a:lnTo>
                <a:lnTo>
                  <a:pt x="8462" y="13138"/>
                </a:lnTo>
                <a:lnTo>
                  <a:pt x="11801" y="21248"/>
                </a:lnTo>
                <a:lnTo>
                  <a:pt x="11809" y="21245"/>
                </a:lnTo>
                <a:cubicBezTo>
                  <a:pt x="11869" y="21449"/>
                  <a:pt x="12050" y="21600"/>
                  <a:pt x="12273" y="21600"/>
                </a:cubicBezTo>
                <a:cubicBezTo>
                  <a:pt x="12468" y="21600"/>
                  <a:pt x="12634" y="21484"/>
                  <a:pt x="12713" y="21319"/>
                </a:cubicBezTo>
                <a:lnTo>
                  <a:pt x="12716" y="21320"/>
                </a:lnTo>
                <a:lnTo>
                  <a:pt x="12723" y="21303"/>
                </a:lnTo>
                <a:cubicBezTo>
                  <a:pt x="12724" y="21301"/>
                  <a:pt x="12725" y="21300"/>
                  <a:pt x="12725" y="21298"/>
                </a:cubicBezTo>
                <a:lnTo>
                  <a:pt x="21553" y="702"/>
                </a:lnTo>
                <a:lnTo>
                  <a:pt x="21547" y="699"/>
                </a:lnTo>
                <a:cubicBezTo>
                  <a:pt x="21578" y="636"/>
                  <a:pt x="21600" y="567"/>
                  <a:pt x="21600" y="491"/>
                </a:cubicBezTo>
                <a:moveTo>
                  <a:pt x="7855" y="16200"/>
                </a:moveTo>
                <a:cubicBezTo>
                  <a:pt x="7719" y="16200"/>
                  <a:pt x="7596" y="16255"/>
                  <a:pt x="7507" y="16344"/>
                </a:cubicBezTo>
                <a:lnTo>
                  <a:pt x="6035" y="17817"/>
                </a:lnTo>
                <a:cubicBezTo>
                  <a:pt x="5946" y="17905"/>
                  <a:pt x="5891" y="18029"/>
                  <a:pt x="5891" y="18164"/>
                </a:cubicBezTo>
                <a:cubicBezTo>
                  <a:pt x="5891" y="18435"/>
                  <a:pt x="6111" y="18655"/>
                  <a:pt x="6382" y="18655"/>
                </a:cubicBezTo>
                <a:cubicBezTo>
                  <a:pt x="6517" y="18655"/>
                  <a:pt x="6640" y="18600"/>
                  <a:pt x="6729" y="18511"/>
                </a:cubicBezTo>
                <a:lnTo>
                  <a:pt x="8202" y="17038"/>
                </a:lnTo>
                <a:cubicBezTo>
                  <a:pt x="8291" y="16950"/>
                  <a:pt x="8345" y="16827"/>
                  <a:pt x="8345" y="16691"/>
                </a:cubicBezTo>
                <a:cubicBezTo>
                  <a:pt x="8345" y="16420"/>
                  <a:pt x="8126" y="16200"/>
                  <a:pt x="7855" y="16200"/>
                </a:cubicBezTo>
                <a:moveTo>
                  <a:pt x="7855" y="14237"/>
                </a:moveTo>
                <a:cubicBezTo>
                  <a:pt x="7855" y="13966"/>
                  <a:pt x="7635" y="13745"/>
                  <a:pt x="7364" y="13745"/>
                </a:cubicBezTo>
                <a:cubicBezTo>
                  <a:pt x="7228" y="13745"/>
                  <a:pt x="7105" y="13801"/>
                  <a:pt x="7017" y="13889"/>
                </a:cubicBezTo>
                <a:lnTo>
                  <a:pt x="2107" y="18798"/>
                </a:lnTo>
                <a:cubicBezTo>
                  <a:pt x="2019" y="18888"/>
                  <a:pt x="1964" y="19011"/>
                  <a:pt x="1964" y="19145"/>
                </a:cubicBezTo>
                <a:cubicBezTo>
                  <a:pt x="1964" y="19417"/>
                  <a:pt x="2184" y="19636"/>
                  <a:pt x="2455" y="19636"/>
                </a:cubicBezTo>
                <a:cubicBezTo>
                  <a:pt x="2590" y="19636"/>
                  <a:pt x="2713" y="19582"/>
                  <a:pt x="2802" y="19493"/>
                </a:cubicBezTo>
                <a:lnTo>
                  <a:pt x="7711" y="14583"/>
                </a:lnTo>
                <a:cubicBezTo>
                  <a:pt x="7800" y="14495"/>
                  <a:pt x="7855" y="14372"/>
                  <a:pt x="7855" y="14237"/>
                </a:cubicBezTo>
                <a:moveTo>
                  <a:pt x="4765" y="14583"/>
                </a:moveTo>
                <a:lnTo>
                  <a:pt x="5256" y="14093"/>
                </a:lnTo>
                <a:cubicBezTo>
                  <a:pt x="5345" y="14004"/>
                  <a:pt x="5400" y="13881"/>
                  <a:pt x="5400" y="13745"/>
                </a:cubicBezTo>
                <a:cubicBezTo>
                  <a:pt x="5400" y="13475"/>
                  <a:pt x="5180" y="13255"/>
                  <a:pt x="4909" y="13255"/>
                </a:cubicBezTo>
                <a:cubicBezTo>
                  <a:pt x="4774" y="13255"/>
                  <a:pt x="4651" y="13310"/>
                  <a:pt x="4562" y="13398"/>
                </a:cubicBezTo>
                <a:lnTo>
                  <a:pt x="4071" y="13889"/>
                </a:lnTo>
                <a:cubicBezTo>
                  <a:pt x="3982" y="13979"/>
                  <a:pt x="3927" y="14101"/>
                  <a:pt x="3927" y="14237"/>
                </a:cubicBezTo>
                <a:cubicBezTo>
                  <a:pt x="3927" y="14507"/>
                  <a:pt x="4147" y="14727"/>
                  <a:pt x="4418" y="14727"/>
                </a:cubicBezTo>
                <a:cubicBezTo>
                  <a:pt x="4554" y="14727"/>
                  <a:pt x="4676" y="14673"/>
                  <a:pt x="4765" y="14583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19" name="Shape 2628">
            <a:extLst>
              <a:ext uri="{FF2B5EF4-FFF2-40B4-BE49-F238E27FC236}">
                <a16:creationId xmlns:a16="http://schemas.microsoft.com/office/drawing/2014/main" id="{F2166773-4EF2-4B40-B9A2-AD1E8C87C397}"/>
              </a:ext>
            </a:extLst>
          </p:cNvPr>
          <p:cNvSpPr/>
          <p:nvPr/>
        </p:nvSpPr>
        <p:spPr>
          <a:xfrm>
            <a:off x="5411262" y="5544596"/>
            <a:ext cx="261569" cy="29267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445" y="20618"/>
                </a:moveTo>
                <a:cubicBezTo>
                  <a:pt x="15830" y="20618"/>
                  <a:pt x="15230" y="20482"/>
                  <a:pt x="14664" y="20214"/>
                </a:cubicBezTo>
                <a:cubicBezTo>
                  <a:pt x="14611" y="20189"/>
                  <a:pt x="14556" y="20170"/>
                  <a:pt x="14501" y="20155"/>
                </a:cubicBezTo>
                <a:cubicBezTo>
                  <a:pt x="8920" y="17308"/>
                  <a:pt x="4296" y="12685"/>
                  <a:pt x="1448" y="7105"/>
                </a:cubicBezTo>
                <a:cubicBezTo>
                  <a:pt x="1432" y="7048"/>
                  <a:pt x="1412" y="6991"/>
                  <a:pt x="1386" y="6936"/>
                </a:cubicBezTo>
                <a:cubicBezTo>
                  <a:pt x="1118" y="6369"/>
                  <a:pt x="982" y="5770"/>
                  <a:pt x="982" y="5155"/>
                </a:cubicBezTo>
                <a:cubicBezTo>
                  <a:pt x="982" y="2774"/>
                  <a:pt x="3067" y="982"/>
                  <a:pt x="4418" y="982"/>
                </a:cubicBezTo>
                <a:cubicBezTo>
                  <a:pt x="4595" y="982"/>
                  <a:pt x="4712" y="1072"/>
                  <a:pt x="4765" y="1126"/>
                </a:cubicBezTo>
                <a:cubicBezTo>
                  <a:pt x="4777" y="1139"/>
                  <a:pt x="4800" y="1164"/>
                  <a:pt x="4832" y="1216"/>
                </a:cubicBezTo>
                <a:cubicBezTo>
                  <a:pt x="4849" y="1244"/>
                  <a:pt x="4868" y="1271"/>
                  <a:pt x="4888" y="1297"/>
                </a:cubicBezTo>
                <a:lnTo>
                  <a:pt x="8121" y="5453"/>
                </a:lnTo>
                <a:cubicBezTo>
                  <a:pt x="8146" y="5485"/>
                  <a:pt x="8173" y="5515"/>
                  <a:pt x="8202" y="5544"/>
                </a:cubicBezTo>
                <a:cubicBezTo>
                  <a:pt x="8255" y="5598"/>
                  <a:pt x="8345" y="5715"/>
                  <a:pt x="8345" y="5891"/>
                </a:cubicBezTo>
                <a:cubicBezTo>
                  <a:pt x="8345" y="5978"/>
                  <a:pt x="8321" y="6060"/>
                  <a:pt x="8274" y="6135"/>
                </a:cubicBezTo>
                <a:lnTo>
                  <a:pt x="7180" y="7221"/>
                </a:lnTo>
                <a:cubicBezTo>
                  <a:pt x="7175" y="7226"/>
                  <a:pt x="7170" y="7231"/>
                  <a:pt x="7165" y="7236"/>
                </a:cubicBezTo>
                <a:cubicBezTo>
                  <a:pt x="6769" y="7609"/>
                  <a:pt x="6543" y="8126"/>
                  <a:pt x="6543" y="8668"/>
                </a:cubicBezTo>
                <a:cubicBezTo>
                  <a:pt x="6543" y="9175"/>
                  <a:pt x="6740" y="9658"/>
                  <a:pt x="7082" y="10020"/>
                </a:cubicBezTo>
                <a:cubicBezTo>
                  <a:pt x="7094" y="10040"/>
                  <a:pt x="7107" y="10059"/>
                  <a:pt x="7121" y="10078"/>
                </a:cubicBezTo>
                <a:cubicBezTo>
                  <a:pt x="8327" y="11745"/>
                  <a:pt x="9810" y="13222"/>
                  <a:pt x="11528" y="14469"/>
                </a:cubicBezTo>
                <a:cubicBezTo>
                  <a:pt x="11541" y="14478"/>
                  <a:pt x="11555" y="14487"/>
                  <a:pt x="11568" y="14496"/>
                </a:cubicBezTo>
                <a:cubicBezTo>
                  <a:pt x="11931" y="14844"/>
                  <a:pt x="12418" y="15045"/>
                  <a:pt x="12928" y="15045"/>
                </a:cubicBezTo>
                <a:cubicBezTo>
                  <a:pt x="13440" y="15045"/>
                  <a:pt x="13934" y="14840"/>
                  <a:pt x="14301" y="14479"/>
                </a:cubicBezTo>
                <a:cubicBezTo>
                  <a:pt x="14320" y="14463"/>
                  <a:pt x="14338" y="14446"/>
                  <a:pt x="14356" y="14427"/>
                </a:cubicBezTo>
                <a:lnTo>
                  <a:pt x="15456" y="13320"/>
                </a:lnTo>
                <a:cubicBezTo>
                  <a:pt x="15533" y="13271"/>
                  <a:pt x="15615" y="13247"/>
                  <a:pt x="15701" y="13247"/>
                </a:cubicBezTo>
                <a:cubicBezTo>
                  <a:pt x="15878" y="13247"/>
                  <a:pt x="15995" y="13337"/>
                  <a:pt x="16048" y="13391"/>
                </a:cubicBezTo>
                <a:cubicBezTo>
                  <a:pt x="16077" y="13420"/>
                  <a:pt x="16108" y="13447"/>
                  <a:pt x="16140" y="13472"/>
                </a:cubicBezTo>
                <a:lnTo>
                  <a:pt x="20296" y="16704"/>
                </a:lnTo>
                <a:cubicBezTo>
                  <a:pt x="20323" y="16725"/>
                  <a:pt x="20351" y="16744"/>
                  <a:pt x="20379" y="16762"/>
                </a:cubicBezTo>
                <a:cubicBezTo>
                  <a:pt x="20431" y="16795"/>
                  <a:pt x="20455" y="16816"/>
                  <a:pt x="20466" y="16827"/>
                </a:cubicBezTo>
                <a:cubicBezTo>
                  <a:pt x="20520" y="16881"/>
                  <a:pt x="20610" y="16997"/>
                  <a:pt x="20610" y="17174"/>
                </a:cubicBezTo>
                <a:cubicBezTo>
                  <a:pt x="20610" y="17207"/>
                  <a:pt x="20612" y="17240"/>
                  <a:pt x="20616" y="17273"/>
                </a:cubicBezTo>
                <a:cubicBezTo>
                  <a:pt x="20539" y="18625"/>
                  <a:pt x="18774" y="20618"/>
                  <a:pt x="16445" y="20618"/>
                </a:cubicBezTo>
                <a:moveTo>
                  <a:pt x="21600" y="17174"/>
                </a:moveTo>
                <a:lnTo>
                  <a:pt x="21592" y="17174"/>
                </a:lnTo>
                <a:cubicBezTo>
                  <a:pt x="21592" y="16768"/>
                  <a:pt x="21427" y="16399"/>
                  <a:pt x="21161" y="16133"/>
                </a:cubicBezTo>
                <a:cubicBezTo>
                  <a:pt x="21082" y="16054"/>
                  <a:pt x="20994" y="15988"/>
                  <a:pt x="20899" y="15929"/>
                </a:cubicBezTo>
                <a:lnTo>
                  <a:pt x="16743" y="12697"/>
                </a:lnTo>
                <a:cubicBezTo>
                  <a:pt x="16476" y="12430"/>
                  <a:pt x="16108" y="12265"/>
                  <a:pt x="15701" y="12265"/>
                </a:cubicBezTo>
                <a:cubicBezTo>
                  <a:pt x="15368" y="12265"/>
                  <a:pt x="15065" y="12380"/>
                  <a:pt x="14819" y="12567"/>
                </a:cubicBezTo>
                <a:lnTo>
                  <a:pt x="13659" y="13736"/>
                </a:lnTo>
                <a:lnTo>
                  <a:pt x="13656" y="13733"/>
                </a:lnTo>
                <a:cubicBezTo>
                  <a:pt x="13477" y="13934"/>
                  <a:pt x="13218" y="14063"/>
                  <a:pt x="12928" y="14063"/>
                </a:cubicBezTo>
                <a:cubicBezTo>
                  <a:pt x="12595" y="14063"/>
                  <a:pt x="12303" y="13897"/>
                  <a:pt x="12125" y="13645"/>
                </a:cubicBezTo>
                <a:cubicBezTo>
                  <a:pt x="12119" y="13654"/>
                  <a:pt x="12111" y="13663"/>
                  <a:pt x="12104" y="13674"/>
                </a:cubicBezTo>
                <a:cubicBezTo>
                  <a:pt x="10500" y="12510"/>
                  <a:pt x="9078" y="11108"/>
                  <a:pt x="7916" y="9502"/>
                </a:cubicBezTo>
                <a:cubicBezTo>
                  <a:pt x="7927" y="9495"/>
                  <a:pt x="7937" y="9486"/>
                  <a:pt x="7949" y="9479"/>
                </a:cubicBezTo>
                <a:cubicBezTo>
                  <a:pt x="7693" y="9299"/>
                  <a:pt x="7525" y="9004"/>
                  <a:pt x="7525" y="8668"/>
                </a:cubicBezTo>
                <a:cubicBezTo>
                  <a:pt x="7525" y="8367"/>
                  <a:pt x="7662" y="8101"/>
                  <a:pt x="7873" y="7920"/>
                </a:cubicBezTo>
                <a:lnTo>
                  <a:pt x="7872" y="7918"/>
                </a:lnTo>
                <a:lnTo>
                  <a:pt x="9026" y="6773"/>
                </a:lnTo>
                <a:cubicBezTo>
                  <a:pt x="9213" y="6528"/>
                  <a:pt x="9327" y="6224"/>
                  <a:pt x="9327" y="5891"/>
                </a:cubicBezTo>
                <a:cubicBezTo>
                  <a:pt x="9327" y="5485"/>
                  <a:pt x="9162" y="5116"/>
                  <a:pt x="8896" y="4850"/>
                </a:cubicBezTo>
                <a:lnTo>
                  <a:pt x="5663" y="693"/>
                </a:lnTo>
                <a:cubicBezTo>
                  <a:pt x="5604" y="599"/>
                  <a:pt x="5538" y="510"/>
                  <a:pt x="5459" y="432"/>
                </a:cubicBezTo>
                <a:cubicBezTo>
                  <a:pt x="5193" y="165"/>
                  <a:pt x="4825" y="0"/>
                  <a:pt x="4418" y="0"/>
                </a:cubicBezTo>
                <a:cubicBezTo>
                  <a:pt x="2455" y="0"/>
                  <a:pt x="0" y="2308"/>
                  <a:pt x="0" y="5155"/>
                </a:cubicBezTo>
                <a:cubicBezTo>
                  <a:pt x="0" y="5943"/>
                  <a:pt x="183" y="6688"/>
                  <a:pt x="499" y="7356"/>
                </a:cubicBezTo>
                <a:lnTo>
                  <a:pt x="483" y="7373"/>
                </a:lnTo>
                <a:cubicBezTo>
                  <a:pt x="3436" y="13255"/>
                  <a:pt x="8345" y="18164"/>
                  <a:pt x="14228" y="21117"/>
                </a:cubicBezTo>
                <a:lnTo>
                  <a:pt x="14244" y="21101"/>
                </a:lnTo>
                <a:cubicBezTo>
                  <a:pt x="14912" y="21418"/>
                  <a:pt x="15657" y="21600"/>
                  <a:pt x="16445" y="21600"/>
                </a:cubicBezTo>
                <a:cubicBezTo>
                  <a:pt x="19292" y="21600"/>
                  <a:pt x="21600" y="19145"/>
                  <a:pt x="21600" y="17182"/>
                </a:cubicBezTo>
                <a:cubicBezTo>
                  <a:pt x="21600" y="17179"/>
                  <a:pt x="21600" y="17177"/>
                  <a:pt x="21600" y="17174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3" name="Shape 2587">
            <a:extLst>
              <a:ext uri="{FF2B5EF4-FFF2-40B4-BE49-F238E27FC236}">
                <a16:creationId xmlns:a16="http://schemas.microsoft.com/office/drawing/2014/main" id="{B641ADED-45B0-466B-A4BE-CEC5570DB588}"/>
              </a:ext>
            </a:extLst>
          </p:cNvPr>
          <p:cNvSpPr/>
          <p:nvPr/>
        </p:nvSpPr>
        <p:spPr>
          <a:xfrm>
            <a:off x="6505855" y="5239721"/>
            <a:ext cx="304875" cy="30487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281" y="19846"/>
                </a:moveTo>
                <a:lnTo>
                  <a:pt x="9413" y="12882"/>
                </a:lnTo>
                <a:lnTo>
                  <a:pt x="19655" y="2640"/>
                </a:lnTo>
                <a:cubicBezTo>
                  <a:pt x="19655" y="2640"/>
                  <a:pt x="12281" y="19846"/>
                  <a:pt x="12281" y="19846"/>
                </a:cubicBezTo>
                <a:close/>
                <a:moveTo>
                  <a:pt x="1755" y="9320"/>
                </a:moveTo>
                <a:lnTo>
                  <a:pt x="18960" y="1945"/>
                </a:lnTo>
                <a:lnTo>
                  <a:pt x="8719" y="12187"/>
                </a:lnTo>
                <a:cubicBezTo>
                  <a:pt x="8719" y="12187"/>
                  <a:pt x="1755" y="9320"/>
                  <a:pt x="1755" y="9320"/>
                </a:cubicBezTo>
                <a:close/>
                <a:moveTo>
                  <a:pt x="21600" y="491"/>
                </a:moveTo>
                <a:cubicBezTo>
                  <a:pt x="21600" y="220"/>
                  <a:pt x="21380" y="0"/>
                  <a:pt x="21109" y="0"/>
                </a:cubicBezTo>
                <a:cubicBezTo>
                  <a:pt x="21034" y="0"/>
                  <a:pt x="20964" y="20"/>
                  <a:pt x="20900" y="52"/>
                </a:cubicBezTo>
                <a:lnTo>
                  <a:pt x="20898" y="48"/>
                </a:lnTo>
                <a:lnTo>
                  <a:pt x="302" y="8875"/>
                </a:lnTo>
                <a:cubicBezTo>
                  <a:pt x="301" y="8875"/>
                  <a:pt x="299" y="8876"/>
                  <a:pt x="297" y="8877"/>
                </a:cubicBezTo>
                <a:lnTo>
                  <a:pt x="280" y="8885"/>
                </a:lnTo>
                <a:lnTo>
                  <a:pt x="281" y="8887"/>
                </a:lnTo>
                <a:cubicBezTo>
                  <a:pt x="116" y="8967"/>
                  <a:pt x="0" y="9132"/>
                  <a:pt x="0" y="9327"/>
                </a:cubicBezTo>
                <a:cubicBezTo>
                  <a:pt x="0" y="9550"/>
                  <a:pt x="151" y="9731"/>
                  <a:pt x="355" y="9791"/>
                </a:cubicBezTo>
                <a:lnTo>
                  <a:pt x="353" y="9799"/>
                </a:lnTo>
                <a:lnTo>
                  <a:pt x="8462" y="13138"/>
                </a:lnTo>
                <a:lnTo>
                  <a:pt x="11801" y="21248"/>
                </a:lnTo>
                <a:lnTo>
                  <a:pt x="11809" y="21245"/>
                </a:lnTo>
                <a:cubicBezTo>
                  <a:pt x="11869" y="21449"/>
                  <a:pt x="12050" y="21600"/>
                  <a:pt x="12273" y="21600"/>
                </a:cubicBezTo>
                <a:cubicBezTo>
                  <a:pt x="12468" y="21600"/>
                  <a:pt x="12634" y="21484"/>
                  <a:pt x="12713" y="21319"/>
                </a:cubicBezTo>
                <a:lnTo>
                  <a:pt x="12716" y="21320"/>
                </a:lnTo>
                <a:lnTo>
                  <a:pt x="12723" y="21303"/>
                </a:lnTo>
                <a:cubicBezTo>
                  <a:pt x="12724" y="21301"/>
                  <a:pt x="12725" y="21300"/>
                  <a:pt x="12725" y="21298"/>
                </a:cubicBezTo>
                <a:lnTo>
                  <a:pt x="21553" y="702"/>
                </a:lnTo>
                <a:lnTo>
                  <a:pt x="21547" y="699"/>
                </a:lnTo>
                <a:cubicBezTo>
                  <a:pt x="21578" y="636"/>
                  <a:pt x="21600" y="567"/>
                  <a:pt x="21600" y="491"/>
                </a:cubicBezTo>
                <a:moveTo>
                  <a:pt x="7855" y="16200"/>
                </a:moveTo>
                <a:cubicBezTo>
                  <a:pt x="7719" y="16200"/>
                  <a:pt x="7596" y="16255"/>
                  <a:pt x="7507" y="16344"/>
                </a:cubicBezTo>
                <a:lnTo>
                  <a:pt x="6035" y="17817"/>
                </a:lnTo>
                <a:cubicBezTo>
                  <a:pt x="5946" y="17905"/>
                  <a:pt x="5891" y="18029"/>
                  <a:pt x="5891" y="18164"/>
                </a:cubicBezTo>
                <a:cubicBezTo>
                  <a:pt x="5891" y="18435"/>
                  <a:pt x="6111" y="18655"/>
                  <a:pt x="6382" y="18655"/>
                </a:cubicBezTo>
                <a:cubicBezTo>
                  <a:pt x="6517" y="18655"/>
                  <a:pt x="6640" y="18600"/>
                  <a:pt x="6729" y="18511"/>
                </a:cubicBezTo>
                <a:lnTo>
                  <a:pt x="8202" y="17038"/>
                </a:lnTo>
                <a:cubicBezTo>
                  <a:pt x="8291" y="16950"/>
                  <a:pt x="8345" y="16827"/>
                  <a:pt x="8345" y="16691"/>
                </a:cubicBezTo>
                <a:cubicBezTo>
                  <a:pt x="8345" y="16420"/>
                  <a:pt x="8126" y="16200"/>
                  <a:pt x="7855" y="16200"/>
                </a:cubicBezTo>
                <a:moveTo>
                  <a:pt x="7855" y="14237"/>
                </a:moveTo>
                <a:cubicBezTo>
                  <a:pt x="7855" y="13966"/>
                  <a:pt x="7635" y="13745"/>
                  <a:pt x="7364" y="13745"/>
                </a:cubicBezTo>
                <a:cubicBezTo>
                  <a:pt x="7228" y="13745"/>
                  <a:pt x="7105" y="13801"/>
                  <a:pt x="7017" y="13889"/>
                </a:cubicBezTo>
                <a:lnTo>
                  <a:pt x="2107" y="18798"/>
                </a:lnTo>
                <a:cubicBezTo>
                  <a:pt x="2019" y="18888"/>
                  <a:pt x="1964" y="19011"/>
                  <a:pt x="1964" y="19145"/>
                </a:cubicBezTo>
                <a:cubicBezTo>
                  <a:pt x="1964" y="19417"/>
                  <a:pt x="2184" y="19636"/>
                  <a:pt x="2455" y="19636"/>
                </a:cubicBezTo>
                <a:cubicBezTo>
                  <a:pt x="2590" y="19636"/>
                  <a:pt x="2713" y="19582"/>
                  <a:pt x="2802" y="19493"/>
                </a:cubicBezTo>
                <a:lnTo>
                  <a:pt x="7711" y="14583"/>
                </a:lnTo>
                <a:cubicBezTo>
                  <a:pt x="7800" y="14495"/>
                  <a:pt x="7855" y="14372"/>
                  <a:pt x="7855" y="14237"/>
                </a:cubicBezTo>
                <a:moveTo>
                  <a:pt x="4765" y="14583"/>
                </a:moveTo>
                <a:lnTo>
                  <a:pt x="5256" y="14093"/>
                </a:lnTo>
                <a:cubicBezTo>
                  <a:pt x="5345" y="14004"/>
                  <a:pt x="5400" y="13881"/>
                  <a:pt x="5400" y="13745"/>
                </a:cubicBezTo>
                <a:cubicBezTo>
                  <a:pt x="5400" y="13475"/>
                  <a:pt x="5180" y="13255"/>
                  <a:pt x="4909" y="13255"/>
                </a:cubicBezTo>
                <a:cubicBezTo>
                  <a:pt x="4774" y="13255"/>
                  <a:pt x="4651" y="13310"/>
                  <a:pt x="4562" y="13398"/>
                </a:cubicBezTo>
                <a:lnTo>
                  <a:pt x="4071" y="13889"/>
                </a:lnTo>
                <a:cubicBezTo>
                  <a:pt x="3982" y="13979"/>
                  <a:pt x="3927" y="14101"/>
                  <a:pt x="3927" y="14237"/>
                </a:cubicBezTo>
                <a:cubicBezTo>
                  <a:pt x="3927" y="14507"/>
                  <a:pt x="4147" y="14727"/>
                  <a:pt x="4418" y="14727"/>
                </a:cubicBezTo>
                <a:cubicBezTo>
                  <a:pt x="4554" y="14727"/>
                  <a:pt x="4676" y="14673"/>
                  <a:pt x="4765" y="14583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4" name="Shape 2628">
            <a:extLst>
              <a:ext uri="{FF2B5EF4-FFF2-40B4-BE49-F238E27FC236}">
                <a16:creationId xmlns:a16="http://schemas.microsoft.com/office/drawing/2014/main" id="{3499E135-4CE8-41B2-BDBA-5D813B49F909}"/>
              </a:ext>
            </a:extLst>
          </p:cNvPr>
          <p:cNvSpPr/>
          <p:nvPr/>
        </p:nvSpPr>
        <p:spPr>
          <a:xfrm>
            <a:off x="8327927" y="5544596"/>
            <a:ext cx="261569" cy="29267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445" y="20618"/>
                </a:moveTo>
                <a:cubicBezTo>
                  <a:pt x="15830" y="20618"/>
                  <a:pt x="15230" y="20482"/>
                  <a:pt x="14664" y="20214"/>
                </a:cubicBezTo>
                <a:cubicBezTo>
                  <a:pt x="14611" y="20189"/>
                  <a:pt x="14556" y="20170"/>
                  <a:pt x="14501" y="20155"/>
                </a:cubicBezTo>
                <a:cubicBezTo>
                  <a:pt x="8920" y="17308"/>
                  <a:pt x="4296" y="12685"/>
                  <a:pt x="1448" y="7105"/>
                </a:cubicBezTo>
                <a:cubicBezTo>
                  <a:pt x="1432" y="7048"/>
                  <a:pt x="1412" y="6991"/>
                  <a:pt x="1386" y="6936"/>
                </a:cubicBezTo>
                <a:cubicBezTo>
                  <a:pt x="1118" y="6369"/>
                  <a:pt x="982" y="5770"/>
                  <a:pt x="982" y="5155"/>
                </a:cubicBezTo>
                <a:cubicBezTo>
                  <a:pt x="982" y="2774"/>
                  <a:pt x="3067" y="982"/>
                  <a:pt x="4418" y="982"/>
                </a:cubicBezTo>
                <a:cubicBezTo>
                  <a:pt x="4595" y="982"/>
                  <a:pt x="4712" y="1072"/>
                  <a:pt x="4765" y="1126"/>
                </a:cubicBezTo>
                <a:cubicBezTo>
                  <a:pt x="4777" y="1139"/>
                  <a:pt x="4800" y="1164"/>
                  <a:pt x="4832" y="1216"/>
                </a:cubicBezTo>
                <a:cubicBezTo>
                  <a:pt x="4849" y="1244"/>
                  <a:pt x="4868" y="1271"/>
                  <a:pt x="4888" y="1297"/>
                </a:cubicBezTo>
                <a:lnTo>
                  <a:pt x="8121" y="5453"/>
                </a:lnTo>
                <a:cubicBezTo>
                  <a:pt x="8146" y="5485"/>
                  <a:pt x="8173" y="5515"/>
                  <a:pt x="8202" y="5544"/>
                </a:cubicBezTo>
                <a:cubicBezTo>
                  <a:pt x="8255" y="5598"/>
                  <a:pt x="8345" y="5715"/>
                  <a:pt x="8345" y="5891"/>
                </a:cubicBezTo>
                <a:cubicBezTo>
                  <a:pt x="8345" y="5978"/>
                  <a:pt x="8321" y="6060"/>
                  <a:pt x="8274" y="6135"/>
                </a:cubicBezTo>
                <a:lnTo>
                  <a:pt x="7180" y="7221"/>
                </a:lnTo>
                <a:cubicBezTo>
                  <a:pt x="7175" y="7226"/>
                  <a:pt x="7170" y="7231"/>
                  <a:pt x="7165" y="7236"/>
                </a:cubicBezTo>
                <a:cubicBezTo>
                  <a:pt x="6769" y="7609"/>
                  <a:pt x="6543" y="8126"/>
                  <a:pt x="6543" y="8668"/>
                </a:cubicBezTo>
                <a:cubicBezTo>
                  <a:pt x="6543" y="9175"/>
                  <a:pt x="6740" y="9658"/>
                  <a:pt x="7082" y="10020"/>
                </a:cubicBezTo>
                <a:cubicBezTo>
                  <a:pt x="7094" y="10040"/>
                  <a:pt x="7107" y="10059"/>
                  <a:pt x="7121" y="10078"/>
                </a:cubicBezTo>
                <a:cubicBezTo>
                  <a:pt x="8327" y="11745"/>
                  <a:pt x="9810" y="13222"/>
                  <a:pt x="11528" y="14469"/>
                </a:cubicBezTo>
                <a:cubicBezTo>
                  <a:pt x="11541" y="14478"/>
                  <a:pt x="11555" y="14487"/>
                  <a:pt x="11568" y="14496"/>
                </a:cubicBezTo>
                <a:cubicBezTo>
                  <a:pt x="11931" y="14844"/>
                  <a:pt x="12418" y="15045"/>
                  <a:pt x="12928" y="15045"/>
                </a:cubicBezTo>
                <a:cubicBezTo>
                  <a:pt x="13440" y="15045"/>
                  <a:pt x="13934" y="14840"/>
                  <a:pt x="14301" y="14479"/>
                </a:cubicBezTo>
                <a:cubicBezTo>
                  <a:pt x="14320" y="14463"/>
                  <a:pt x="14338" y="14446"/>
                  <a:pt x="14356" y="14427"/>
                </a:cubicBezTo>
                <a:lnTo>
                  <a:pt x="15456" y="13320"/>
                </a:lnTo>
                <a:cubicBezTo>
                  <a:pt x="15533" y="13271"/>
                  <a:pt x="15615" y="13247"/>
                  <a:pt x="15701" y="13247"/>
                </a:cubicBezTo>
                <a:cubicBezTo>
                  <a:pt x="15878" y="13247"/>
                  <a:pt x="15995" y="13337"/>
                  <a:pt x="16048" y="13391"/>
                </a:cubicBezTo>
                <a:cubicBezTo>
                  <a:pt x="16077" y="13420"/>
                  <a:pt x="16108" y="13447"/>
                  <a:pt x="16140" y="13472"/>
                </a:cubicBezTo>
                <a:lnTo>
                  <a:pt x="20296" y="16704"/>
                </a:lnTo>
                <a:cubicBezTo>
                  <a:pt x="20323" y="16725"/>
                  <a:pt x="20351" y="16744"/>
                  <a:pt x="20379" y="16762"/>
                </a:cubicBezTo>
                <a:cubicBezTo>
                  <a:pt x="20431" y="16795"/>
                  <a:pt x="20455" y="16816"/>
                  <a:pt x="20466" y="16827"/>
                </a:cubicBezTo>
                <a:cubicBezTo>
                  <a:pt x="20520" y="16881"/>
                  <a:pt x="20610" y="16997"/>
                  <a:pt x="20610" y="17174"/>
                </a:cubicBezTo>
                <a:cubicBezTo>
                  <a:pt x="20610" y="17207"/>
                  <a:pt x="20612" y="17240"/>
                  <a:pt x="20616" y="17273"/>
                </a:cubicBezTo>
                <a:cubicBezTo>
                  <a:pt x="20539" y="18625"/>
                  <a:pt x="18774" y="20618"/>
                  <a:pt x="16445" y="20618"/>
                </a:cubicBezTo>
                <a:moveTo>
                  <a:pt x="21600" y="17174"/>
                </a:moveTo>
                <a:lnTo>
                  <a:pt x="21592" y="17174"/>
                </a:lnTo>
                <a:cubicBezTo>
                  <a:pt x="21592" y="16768"/>
                  <a:pt x="21427" y="16399"/>
                  <a:pt x="21161" y="16133"/>
                </a:cubicBezTo>
                <a:cubicBezTo>
                  <a:pt x="21082" y="16054"/>
                  <a:pt x="20994" y="15988"/>
                  <a:pt x="20899" y="15929"/>
                </a:cubicBezTo>
                <a:lnTo>
                  <a:pt x="16743" y="12697"/>
                </a:lnTo>
                <a:cubicBezTo>
                  <a:pt x="16476" y="12430"/>
                  <a:pt x="16108" y="12265"/>
                  <a:pt x="15701" y="12265"/>
                </a:cubicBezTo>
                <a:cubicBezTo>
                  <a:pt x="15368" y="12265"/>
                  <a:pt x="15065" y="12380"/>
                  <a:pt x="14819" y="12567"/>
                </a:cubicBezTo>
                <a:lnTo>
                  <a:pt x="13659" y="13736"/>
                </a:lnTo>
                <a:lnTo>
                  <a:pt x="13656" y="13733"/>
                </a:lnTo>
                <a:cubicBezTo>
                  <a:pt x="13477" y="13934"/>
                  <a:pt x="13218" y="14063"/>
                  <a:pt x="12928" y="14063"/>
                </a:cubicBezTo>
                <a:cubicBezTo>
                  <a:pt x="12595" y="14063"/>
                  <a:pt x="12303" y="13897"/>
                  <a:pt x="12125" y="13645"/>
                </a:cubicBezTo>
                <a:cubicBezTo>
                  <a:pt x="12119" y="13654"/>
                  <a:pt x="12111" y="13663"/>
                  <a:pt x="12104" y="13674"/>
                </a:cubicBezTo>
                <a:cubicBezTo>
                  <a:pt x="10500" y="12510"/>
                  <a:pt x="9078" y="11108"/>
                  <a:pt x="7916" y="9502"/>
                </a:cubicBezTo>
                <a:cubicBezTo>
                  <a:pt x="7927" y="9495"/>
                  <a:pt x="7937" y="9486"/>
                  <a:pt x="7949" y="9479"/>
                </a:cubicBezTo>
                <a:cubicBezTo>
                  <a:pt x="7693" y="9299"/>
                  <a:pt x="7525" y="9004"/>
                  <a:pt x="7525" y="8668"/>
                </a:cubicBezTo>
                <a:cubicBezTo>
                  <a:pt x="7525" y="8367"/>
                  <a:pt x="7662" y="8101"/>
                  <a:pt x="7873" y="7920"/>
                </a:cubicBezTo>
                <a:lnTo>
                  <a:pt x="7872" y="7918"/>
                </a:lnTo>
                <a:lnTo>
                  <a:pt x="9026" y="6773"/>
                </a:lnTo>
                <a:cubicBezTo>
                  <a:pt x="9213" y="6528"/>
                  <a:pt x="9327" y="6224"/>
                  <a:pt x="9327" y="5891"/>
                </a:cubicBezTo>
                <a:cubicBezTo>
                  <a:pt x="9327" y="5485"/>
                  <a:pt x="9162" y="5116"/>
                  <a:pt x="8896" y="4850"/>
                </a:cubicBezTo>
                <a:lnTo>
                  <a:pt x="5663" y="693"/>
                </a:lnTo>
                <a:cubicBezTo>
                  <a:pt x="5604" y="599"/>
                  <a:pt x="5538" y="510"/>
                  <a:pt x="5459" y="432"/>
                </a:cubicBezTo>
                <a:cubicBezTo>
                  <a:pt x="5193" y="165"/>
                  <a:pt x="4825" y="0"/>
                  <a:pt x="4418" y="0"/>
                </a:cubicBezTo>
                <a:cubicBezTo>
                  <a:pt x="2455" y="0"/>
                  <a:pt x="0" y="2308"/>
                  <a:pt x="0" y="5155"/>
                </a:cubicBezTo>
                <a:cubicBezTo>
                  <a:pt x="0" y="5943"/>
                  <a:pt x="183" y="6688"/>
                  <a:pt x="499" y="7356"/>
                </a:cubicBezTo>
                <a:lnTo>
                  <a:pt x="483" y="7373"/>
                </a:lnTo>
                <a:cubicBezTo>
                  <a:pt x="3436" y="13255"/>
                  <a:pt x="8345" y="18164"/>
                  <a:pt x="14228" y="21117"/>
                </a:cubicBezTo>
                <a:lnTo>
                  <a:pt x="14244" y="21101"/>
                </a:lnTo>
                <a:cubicBezTo>
                  <a:pt x="14912" y="21418"/>
                  <a:pt x="15657" y="21600"/>
                  <a:pt x="16445" y="21600"/>
                </a:cubicBezTo>
                <a:cubicBezTo>
                  <a:pt x="19292" y="21600"/>
                  <a:pt x="21600" y="19145"/>
                  <a:pt x="21600" y="17182"/>
                </a:cubicBezTo>
                <a:cubicBezTo>
                  <a:pt x="21600" y="17179"/>
                  <a:pt x="21600" y="17177"/>
                  <a:pt x="21600" y="17174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6" name="Shape 2587">
            <a:extLst>
              <a:ext uri="{FF2B5EF4-FFF2-40B4-BE49-F238E27FC236}">
                <a16:creationId xmlns:a16="http://schemas.microsoft.com/office/drawing/2014/main" id="{01107A37-C368-49C5-9DC7-A94D9D426028}"/>
              </a:ext>
            </a:extLst>
          </p:cNvPr>
          <p:cNvSpPr/>
          <p:nvPr/>
        </p:nvSpPr>
        <p:spPr>
          <a:xfrm>
            <a:off x="9422520" y="5239721"/>
            <a:ext cx="304875" cy="30487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281" y="19846"/>
                </a:moveTo>
                <a:lnTo>
                  <a:pt x="9413" y="12882"/>
                </a:lnTo>
                <a:lnTo>
                  <a:pt x="19655" y="2640"/>
                </a:lnTo>
                <a:cubicBezTo>
                  <a:pt x="19655" y="2640"/>
                  <a:pt x="12281" y="19846"/>
                  <a:pt x="12281" y="19846"/>
                </a:cubicBezTo>
                <a:close/>
                <a:moveTo>
                  <a:pt x="1755" y="9320"/>
                </a:moveTo>
                <a:lnTo>
                  <a:pt x="18960" y="1945"/>
                </a:lnTo>
                <a:lnTo>
                  <a:pt x="8719" y="12187"/>
                </a:lnTo>
                <a:cubicBezTo>
                  <a:pt x="8719" y="12187"/>
                  <a:pt x="1755" y="9320"/>
                  <a:pt x="1755" y="9320"/>
                </a:cubicBezTo>
                <a:close/>
                <a:moveTo>
                  <a:pt x="21600" y="491"/>
                </a:moveTo>
                <a:cubicBezTo>
                  <a:pt x="21600" y="220"/>
                  <a:pt x="21380" y="0"/>
                  <a:pt x="21109" y="0"/>
                </a:cubicBezTo>
                <a:cubicBezTo>
                  <a:pt x="21034" y="0"/>
                  <a:pt x="20964" y="20"/>
                  <a:pt x="20900" y="52"/>
                </a:cubicBezTo>
                <a:lnTo>
                  <a:pt x="20898" y="48"/>
                </a:lnTo>
                <a:lnTo>
                  <a:pt x="302" y="8875"/>
                </a:lnTo>
                <a:cubicBezTo>
                  <a:pt x="301" y="8875"/>
                  <a:pt x="299" y="8876"/>
                  <a:pt x="297" y="8877"/>
                </a:cubicBezTo>
                <a:lnTo>
                  <a:pt x="280" y="8885"/>
                </a:lnTo>
                <a:lnTo>
                  <a:pt x="281" y="8887"/>
                </a:lnTo>
                <a:cubicBezTo>
                  <a:pt x="116" y="8967"/>
                  <a:pt x="0" y="9132"/>
                  <a:pt x="0" y="9327"/>
                </a:cubicBezTo>
                <a:cubicBezTo>
                  <a:pt x="0" y="9550"/>
                  <a:pt x="151" y="9731"/>
                  <a:pt x="355" y="9791"/>
                </a:cubicBezTo>
                <a:lnTo>
                  <a:pt x="353" y="9799"/>
                </a:lnTo>
                <a:lnTo>
                  <a:pt x="8462" y="13138"/>
                </a:lnTo>
                <a:lnTo>
                  <a:pt x="11801" y="21248"/>
                </a:lnTo>
                <a:lnTo>
                  <a:pt x="11809" y="21245"/>
                </a:lnTo>
                <a:cubicBezTo>
                  <a:pt x="11869" y="21449"/>
                  <a:pt x="12050" y="21600"/>
                  <a:pt x="12273" y="21600"/>
                </a:cubicBezTo>
                <a:cubicBezTo>
                  <a:pt x="12468" y="21600"/>
                  <a:pt x="12634" y="21484"/>
                  <a:pt x="12713" y="21319"/>
                </a:cubicBezTo>
                <a:lnTo>
                  <a:pt x="12716" y="21320"/>
                </a:lnTo>
                <a:lnTo>
                  <a:pt x="12723" y="21303"/>
                </a:lnTo>
                <a:cubicBezTo>
                  <a:pt x="12724" y="21301"/>
                  <a:pt x="12725" y="21300"/>
                  <a:pt x="12725" y="21298"/>
                </a:cubicBezTo>
                <a:lnTo>
                  <a:pt x="21553" y="702"/>
                </a:lnTo>
                <a:lnTo>
                  <a:pt x="21547" y="699"/>
                </a:lnTo>
                <a:cubicBezTo>
                  <a:pt x="21578" y="636"/>
                  <a:pt x="21600" y="567"/>
                  <a:pt x="21600" y="491"/>
                </a:cubicBezTo>
                <a:moveTo>
                  <a:pt x="7855" y="16200"/>
                </a:moveTo>
                <a:cubicBezTo>
                  <a:pt x="7719" y="16200"/>
                  <a:pt x="7596" y="16255"/>
                  <a:pt x="7507" y="16344"/>
                </a:cubicBezTo>
                <a:lnTo>
                  <a:pt x="6035" y="17817"/>
                </a:lnTo>
                <a:cubicBezTo>
                  <a:pt x="5946" y="17905"/>
                  <a:pt x="5891" y="18029"/>
                  <a:pt x="5891" y="18164"/>
                </a:cubicBezTo>
                <a:cubicBezTo>
                  <a:pt x="5891" y="18435"/>
                  <a:pt x="6111" y="18655"/>
                  <a:pt x="6382" y="18655"/>
                </a:cubicBezTo>
                <a:cubicBezTo>
                  <a:pt x="6517" y="18655"/>
                  <a:pt x="6640" y="18600"/>
                  <a:pt x="6729" y="18511"/>
                </a:cubicBezTo>
                <a:lnTo>
                  <a:pt x="8202" y="17038"/>
                </a:lnTo>
                <a:cubicBezTo>
                  <a:pt x="8291" y="16950"/>
                  <a:pt x="8345" y="16827"/>
                  <a:pt x="8345" y="16691"/>
                </a:cubicBezTo>
                <a:cubicBezTo>
                  <a:pt x="8345" y="16420"/>
                  <a:pt x="8126" y="16200"/>
                  <a:pt x="7855" y="16200"/>
                </a:cubicBezTo>
                <a:moveTo>
                  <a:pt x="7855" y="14237"/>
                </a:moveTo>
                <a:cubicBezTo>
                  <a:pt x="7855" y="13966"/>
                  <a:pt x="7635" y="13745"/>
                  <a:pt x="7364" y="13745"/>
                </a:cubicBezTo>
                <a:cubicBezTo>
                  <a:pt x="7228" y="13745"/>
                  <a:pt x="7105" y="13801"/>
                  <a:pt x="7017" y="13889"/>
                </a:cubicBezTo>
                <a:lnTo>
                  <a:pt x="2107" y="18798"/>
                </a:lnTo>
                <a:cubicBezTo>
                  <a:pt x="2019" y="18888"/>
                  <a:pt x="1964" y="19011"/>
                  <a:pt x="1964" y="19145"/>
                </a:cubicBezTo>
                <a:cubicBezTo>
                  <a:pt x="1964" y="19417"/>
                  <a:pt x="2184" y="19636"/>
                  <a:pt x="2455" y="19636"/>
                </a:cubicBezTo>
                <a:cubicBezTo>
                  <a:pt x="2590" y="19636"/>
                  <a:pt x="2713" y="19582"/>
                  <a:pt x="2802" y="19493"/>
                </a:cubicBezTo>
                <a:lnTo>
                  <a:pt x="7711" y="14583"/>
                </a:lnTo>
                <a:cubicBezTo>
                  <a:pt x="7800" y="14495"/>
                  <a:pt x="7855" y="14372"/>
                  <a:pt x="7855" y="14237"/>
                </a:cubicBezTo>
                <a:moveTo>
                  <a:pt x="4765" y="14583"/>
                </a:moveTo>
                <a:lnTo>
                  <a:pt x="5256" y="14093"/>
                </a:lnTo>
                <a:cubicBezTo>
                  <a:pt x="5345" y="14004"/>
                  <a:pt x="5400" y="13881"/>
                  <a:pt x="5400" y="13745"/>
                </a:cubicBezTo>
                <a:cubicBezTo>
                  <a:pt x="5400" y="13475"/>
                  <a:pt x="5180" y="13255"/>
                  <a:pt x="4909" y="13255"/>
                </a:cubicBezTo>
                <a:cubicBezTo>
                  <a:pt x="4774" y="13255"/>
                  <a:pt x="4651" y="13310"/>
                  <a:pt x="4562" y="13398"/>
                </a:cubicBezTo>
                <a:lnTo>
                  <a:pt x="4071" y="13889"/>
                </a:lnTo>
                <a:cubicBezTo>
                  <a:pt x="3982" y="13979"/>
                  <a:pt x="3927" y="14101"/>
                  <a:pt x="3927" y="14237"/>
                </a:cubicBezTo>
                <a:cubicBezTo>
                  <a:pt x="3927" y="14507"/>
                  <a:pt x="4147" y="14727"/>
                  <a:pt x="4418" y="14727"/>
                </a:cubicBezTo>
                <a:cubicBezTo>
                  <a:pt x="4554" y="14727"/>
                  <a:pt x="4676" y="14673"/>
                  <a:pt x="4765" y="14583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27" name="Shape 2628">
            <a:extLst>
              <a:ext uri="{FF2B5EF4-FFF2-40B4-BE49-F238E27FC236}">
                <a16:creationId xmlns:a16="http://schemas.microsoft.com/office/drawing/2014/main" id="{3EBC6043-323F-4E40-A483-EE2CE6E8C56C}"/>
              </a:ext>
            </a:extLst>
          </p:cNvPr>
          <p:cNvSpPr/>
          <p:nvPr/>
        </p:nvSpPr>
        <p:spPr>
          <a:xfrm>
            <a:off x="11244592" y="5544596"/>
            <a:ext cx="261569" cy="29267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445" y="20618"/>
                </a:moveTo>
                <a:cubicBezTo>
                  <a:pt x="15830" y="20618"/>
                  <a:pt x="15230" y="20482"/>
                  <a:pt x="14664" y="20214"/>
                </a:cubicBezTo>
                <a:cubicBezTo>
                  <a:pt x="14611" y="20189"/>
                  <a:pt x="14556" y="20170"/>
                  <a:pt x="14501" y="20155"/>
                </a:cubicBezTo>
                <a:cubicBezTo>
                  <a:pt x="8920" y="17308"/>
                  <a:pt x="4296" y="12685"/>
                  <a:pt x="1448" y="7105"/>
                </a:cubicBezTo>
                <a:cubicBezTo>
                  <a:pt x="1432" y="7048"/>
                  <a:pt x="1412" y="6991"/>
                  <a:pt x="1386" y="6936"/>
                </a:cubicBezTo>
                <a:cubicBezTo>
                  <a:pt x="1118" y="6369"/>
                  <a:pt x="982" y="5770"/>
                  <a:pt x="982" y="5155"/>
                </a:cubicBezTo>
                <a:cubicBezTo>
                  <a:pt x="982" y="2774"/>
                  <a:pt x="3067" y="982"/>
                  <a:pt x="4418" y="982"/>
                </a:cubicBezTo>
                <a:cubicBezTo>
                  <a:pt x="4595" y="982"/>
                  <a:pt x="4712" y="1072"/>
                  <a:pt x="4765" y="1126"/>
                </a:cubicBezTo>
                <a:cubicBezTo>
                  <a:pt x="4777" y="1139"/>
                  <a:pt x="4800" y="1164"/>
                  <a:pt x="4832" y="1216"/>
                </a:cubicBezTo>
                <a:cubicBezTo>
                  <a:pt x="4849" y="1244"/>
                  <a:pt x="4868" y="1271"/>
                  <a:pt x="4888" y="1297"/>
                </a:cubicBezTo>
                <a:lnTo>
                  <a:pt x="8121" y="5453"/>
                </a:lnTo>
                <a:cubicBezTo>
                  <a:pt x="8146" y="5485"/>
                  <a:pt x="8173" y="5515"/>
                  <a:pt x="8202" y="5544"/>
                </a:cubicBezTo>
                <a:cubicBezTo>
                  <a:pt x="8255" y="5598"/>
                  <a:pt x="8345" y="5715"/>
                  <a:pt x="8345" y="5891"/>
                </a:cubicBezTo>
                <a:cubicBezTo>
                  <a:pt x="8345" y="5978"/>
                  <a:pt x="8321" y="6060"/>
                  <a:pt x="8274" y="6135"/>
                </a:cubicBezTo>
                <a:lnTo>
                  <a:pt x="7180" y="7221"/>
                </a:lnTo>
                <a:cubicBezTo>
                  <a:pt x="7175" y="7226"/>
                  <a:pt x="7170" y="7231"/>
                  <a:pt x="7165" y="7236"/>
                </a:cubicBezTo>
                <a:cubicBezTo>
                  <a:pt x="6769" y="7609"/>
                  <a:pt x="6543" y="8126"/>
                  <a:pt x="6543" y="8668"/>
                </a:cubicBezTo>
                <a:cubicBezTo>
                  <a:pt x="6543" y="9175"/>
                  <a:pt x="6740" y="9658"/>
                  <a:pt x="7082" y="10020"/>
                </a:cubicBezTo>
                <a:cubicBezTo>
                  <a:pt x="7094" y="10040"/>
                  <a:pt x="7107" y="10059"/>
                  <a:pt x="7121" y="10078"/>
                </a:cubicBezTo>
                <a:cubicBezTo>
                  <a:pt x="8327" y="11745"/>
                  <a:pt x="9810" y="13222"/>
                  <a:pt x="11528" y="14469"/>
                </a:cubicBezTo>
                <a:cubicBezTo>
                  <a:pt x="11541" y="14478"/>
                  <a:pt x="11555" y="14487"/>
                  <a:pt x="11568" y="14496"/>
                </a:cubicBezTo>
                <a:cubicBezTo>
                  <a:pt x="11931" y="14844"/>
                  <a:pt x="12418" y="15045"/>
                  <a:pt x="12928" y="15045"/>
                </a:cubicBezTo>
                <a:cubicBezTo>
                  <a:pt x="13440" y="15045"/>
                  <a:pt x="13934" y="14840"/>
                  <a:pt x="14301" y="14479"/>
                </a:cubicBezTo>
                <a:cubicBezTo>
                  <a:pt x="14320" y="14463"/>
                  <a:pt x="14338" y="14446"/>
                  <a:pt x="14356" y="14427"/>
                </a:cubicBezTo>
                <a:lnTo>
                  <a:pt x="15456" y="13320"/>
                </a:lnTo>
                <a:cubicBezTo>
                  <a:pt x="15533" y="13271"/>
                  <a:pt x="15615" y="13247"/>
                  <a:pt x="15701" y="13247"/>
                </a:cubicBezTo>
                <a:cubicBezTo>
                  <a:pt x="15878" y="13247"/>
                  <a:pt x="15995" y="13337"/>
                  <a:pt x="16048" y="13391"/>
                </a:cubicBezTo>
                <a:cubicBezTo>
                  <a:pt x="16077" y="13420"/>
                  <a:pt x="16108" y="13447"/>
                  <a:pt x="16140" y="13472"/>
                </a:cubicBezTo>
                <a:lnTo>
                  <a:pt x="20296" y="16704"/>
                </a:lnTo>
                <a:cubicBezTo>
                  <a:pt x="20323" y="16725"/>
                  <a:pt x="20351" y="16744"/>
                  <a:pt x="20379" y="16762"/>
                </a:cubicBezTo>
                <a:cubicBezTo>
                  <a:pt x="20431" y="16795"/>
                  <a:pt x="20455" y="16816"/>
                  <a:pt x="20466" y="16827"/>
                </a:cubicBezTo>
                <a:cubicBezTo>
                  <a:pt x="20520" y="16881"/>
                  <a:pt x="20610" y="16997"/>
                  <a:pt x="20610" y="17174"/>
                </a:cubicBezTo>
                <a:cubicBezTo>
                  <a:pt x="20610" y="17207"/>
                  <a:pt x="20612" y="17240"/>
                  <a:pt x="20616" y="17273"/>
                </a:cubicBezTo>
                <a:cubicBezTo>
                  <a:pt x="20539" y="18625"/>
                  <a:pt x="18774" y="20618"/>
                  <a:pt x="16445" y="20618"/>
                </a:cubicBezTo>
                <a:moveTo>
                  <a:pt x="21600" y="17174"/>
                </a:moveTo>
                <a:lnTo>
                  <a:pt x="21592" y="17174"/>
                </a:lnTo>
                <a:cubicBezTo>
                  <a:pt x="21592" y="16768"/>
                  <a:pt x="21427" y="16399"/>
                  <a:pt x="21161" y="16133"/>
                </a:cubicBezTo>
                <a:cubicBezTo>
                  <a:pt x="21082" y="16054"/>
                  <a:pt x="20994" y="15988"/>
                  <a:pt x="20899" y="15929"/>
                </a:cubicBezTo>
                <a:lnTo>
                  <a:pt x="16743" y="12697"/>
                </a:lnTo>
                <a:cubicBezTo>
                  <a:pt x="16476" y="12430"/>
                  <a:pt x="16108" y="12265"/>
                  <a:pt x="15701" y="12265"/>
                </a:cubicBezTo>
                <a:cubicBezTo>
                  <a:pt x="15368" y="12265"/>
                  <a:pt x="15065" y="12380"/>
                  <a:pt x="14819" y="12567"/>
                </a:cubicBezTo>
                <a:lnTo>
                  <a:pt x="13659" y="13736"/>
                </a:lnTo>
                <a:lnTo>
                  <a:pt x="13656" y="13733"/>
                </a:lnTo>
                <a:cubicBezTo>
                  <a:pt x="13477" y="13934"/>
                  <a:pt x="13218" y="14063"/>
                  <a:pt x="12928" y="14063"/>
                </a:cubicBezTo>
                <a:cubicBezTo>
                  <a:pt x="12595" y="14063"/>
                  <a:pt x="12303" y="13897"/>
                  <a:pt x="12125" y="13645"/>
                </a:cubicBezTo>
                <a:cubicBezTo>
                  <a:pt x="12119" y="13654"/>
                  <a:pt x="12111" y="13663"/>
                  <a:pt x="12104" y="13674"/>
                </a:cubicBezTo>
                <a:cubicBezTo>
                  <a:pt x="10500" y="12510"/>
                  <a:pt x="9078" y="11108"/>
                  <a:pt x="7916" y="9502"/>
                </a:cubicBezTo>
                <a:cubicBezTo>
                  <a:pt x="7927" y="9495"/>
                  <a:pt x="7937" y="9486"/>
                  <a:pt x="7949" y="9479"/>
                </a:cubicBezTo>
                <a:cubicBezTo>
                  <a:pt x="7693" y="9299"/>
                  <a:pt x="7525" y="9004"/>
                  <a:pt x="7525" y="8668"/>
                </a:cubicBezTo>
                <a:cubicBezTo>
                  <a:pt x="7525" y="8367"/>
                  <a:pt x="7662" y="8101"/>
                  <a:pt x="7873" y="7920"/>
                </a:cubicBezTo>
                <a:lnTo>
                  <a:pt x="7872" y="7918"/>
                </a:lnTo>
                <a:lnTo>
                  <a:pt x="9026" y="6773"/>
                </a:lnTo>
                <a:cubicBezTo>
                  <a:pt x="9213" y="6528"/>
                  <a:pt x="9327" y="6224"/>
                  <a:pt x="9327" y="5891"/>
                </a:cubicBezTo>
                <a:cubicBezTo>
                  <a:pt x="9327" y="5485"/>
                  <a:pt x="9162" y="5116"/>
                  <a:pt x="8896" y="4850"/>
                </a:cubicBezTo>
                <a:lnTo>
                  <a:pt x="5663" y="693"/>
                </a:lnTo>
                <a:cubicBezTo>
                  <a:pt x="5604" y="599"/>
                  <a:pt x="5538" y="510"/>
                  <a:pt x="5459" y="432"/>
                </a:cubicBezTo>
                <a:cubicBezTo>
                  <a:pt x="5193" y="165"/>
                  <a:pt x="4825" y="0"/>
                  <a:pt x="4418" y="0"/>
                </a:cubicBezTo>
                <a:cubicBezTo>
                  <a:pt x="2455" y="0"/>
                  <a:pt x="0" y="2308"/>
                  <a:pt x="0" y="5155"/>
                </a:cubicBezTo>
                <a:cubicBezTo>
                  <a:pt x="0" y="5943"/>
                  <a:pt x="183" y="6688"/>
                  <a:pt x="499" y="7356"/>
                </a:cubicBezTo>
                <a:lnTo>
                  <a:pt x="483" y="7373"/>
                </a:lnTo>
                <a:cubicBezTo>
                  <a:pt x="3436" y="13255"/>
                  <a:pt x="8345" y="18164"/>
                  <a:pt x="14228" y="21117"/>
                </a:cubicBezTo>
                <a:lnTo>
                  <a:pt x="14244" y="21101"/>
                </a:lnTo>
                <a:cubicBezTo>
                  <a:pt x="14912" y="21418"/>
                  <a:pt x="15657" y="21600"/>
                  <a:pt x="16445" y="21600"/>
                </a:cubicBezTo>
                <a:cubicBezTo>
                  <a:pt x="19292" y="21600"/>
                  <a:pt x="21600" y="19145"/>
                  <a:pt x="21600" y="17182"/>
                </a:cubicBezTo>
                <a:cubicBezTo>
                  <a:pt x="21600" y="17179"/>
                  <a:pt x="21600" y="17177"/>
                  <a:pt x="21600" y="17174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</p:spTree>
    <p:extLst>
      <p:ext uri="{BB962C8B-B14F-4D97-AF65-F5344CB8AC3E}">
        <p14:creationId xmlns:p14="http://schemas.microsoft.com/office/powerpoint/2010/main" val="28620684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07246ADE-AF0D-4665-B94E-C64EAAA42D2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52600" y="6339508"/>
            <a:ext cx="1080000" cy="341053"/>
          </a:xfrm>
          <a:prstGeom prst="rect">
            <a:avLst/>
          </a:prstGeom>
        </p:spPr>
      </p:pic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55435B5D-331F-4378-A98D-701BF37150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36000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8150" y="1001374"/>
            <a:ext cx="11394450" cy="369332"/>
          </a:xfrm>
          <a:prstGeom prst="rect">
            <a:avLst/>
          </a:prstGeom>
        </p:spPr>
        <p:txBody>
          <a:bodyPr wrap="square" lIns="72000" tIns="36000" rIns="72000" bIns="36000">
            <a:no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9pPr>
          </a:lstStyle>
          <a:p>
            <a:r>
              <a:rPr lang="en-US" dirty="0"/>
              <a:t>Click to edit subtitl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29600" y="6375818"/>
            <a:ext cx="511868" cy="365125"/>
          </a:xfrm>
          <a:prstGeom prst="rect">
            <a:avLst/>
          </a:prstGeom>
        </p:spPr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4E0D6FF-F00D-45C7-A8B9-6122B7A73E6F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39199" y="1511300"/>
            <a:ext cx="5459951" cy="4648200"/>
          </a:xfrm>
        </p:spPr>
        <p:txBody>
          <a:bodyPr lIns="72000" tIns="36000" rIns="72000" bIns="36000"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                                                                                                                           Enter &amp; TAB for next text level                                                                                                              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EFFA882D-3B1A-4B0F-8C4B-4A307EF3A69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70638" y="1511300"/>
            <a:ext cx="5461000" cy="4648200"/>
          </a:xfrm>
        </p:spPr>
        <p:txBody>
          <a:bodyPr lIns="72000" tIns="36000" rIns="72000" bIns="36000"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                                                                                                                           Enter &amp; TAB for next text level                                                                                                              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923632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952" userDrawn="1">
          <p15:clr>
            <a:srgbClr val="A4A3A4"/>
          </p15:clr>
        </p15:guide>
        <p15:guide id="5" pos="4013" userDrawn="1">
          <p15:clr>
            <a:srgbClr val="A4A3A4"/>
          </p15:clr>
        </p15:guide>
        <p15:guide id="6" pos="3716" userDrawn="1">
          <p15:clr>
            <a:srgbClr val="A4A3A4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text or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5B374C-F223-47F3-BBF5-AB0E43943D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60001"/>
            <a:ext cx="11473200" cy="619713"/>
          </a:xfrm>
          <a:prstGeom prst="rect">
            <a:avLst/>
          </a:prstGeom>
        </p:spPr>
        <p:txBody>
          <a:bodyPr lIns="72000" tIns="36000" rIns="72000" bIns="36000"/>
          <a:lstStyle/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EEC09FC0-046C-4680-8863-00E867AAE76C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38150" y="1001374"/>
            <a:ext cx="11394450" cy="369332"/>
          </a:xfrm>
          <a:prstGeom prst="rect">
            <a:avLst/>
          </a:prstGeom>
        </p:spPr>
        <p:txBody>
          <a:bodyPr wrap="square" lIns="72000" tIns="36000" rIns="72000" bIns="36000">
            <a:no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latin typeface="Palatino Linotype" panose="02040502050505030304" pitchFamily="18" charset="0"/>
              </a:defRPr>
            </a:lvl9pPr>
          </a:lstStyle>
          <a:p>
            <a:r>
              <a:rPr lang="en-US" dirty="0"/>
              <a:t>Click to edit subtitle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E14FBFAE-6F7B-4E9C-BCC3-47A94886710C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60000" y="1512000"/>
            <a:ext cx="11473200" cy="4647600"/>
          </a:xfrm>
          <a:ln w="19050">
            <a:noFill/>
          </a:ln>
        </p:spPr>
        <p:txBody>
          <a:bodyPr lIns="72000" tIns="36000" rIns="72000" bIns="36000"/>
          <a:lstStyle>
            <a:lvl1pPr>
              <a:defRPr baseline="0"/>
            </a:lvl1pPr>
          </a:lstStyle>
          <a:p>
            <a:pPr lvl="0"/>
            <a:r>
              <a:rPr lang="en-US" noProof="0" dirty="0"/>
              <a:t>Click to edit text or add media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CC387FF6-39B2-4DBD-BCE1-59066521BC9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52600" y="6339508"/>
            <a:ext cx="1080000" cy="341053"/>
          </a:xfrm>
          <a:prstGeom prst="rect">
            <a:avLst/>
          </a:prstGeom>
        </p:spPr>
      </p:pic>
      <p:sp>
        <p:nvSpPr>
          <p:cNvPr id="10" name="Slide Number Placeholder 8">
            <a:extLst>
              <a:ext uri="{FF2B5EF4-FFF2-40B4-BE49-F238E27FC236}">
                <a16:creationId xmlns:a16="http://schemas.microsoft.com/office/drawing/2014/main" id="{7B51CE33-A654-4FEC-9FDE-2F5A1C8CD5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9600" y="6375818"/>
            <a:ext cx="511868" cy="365125"/>
          </a:xfrm>
          <a:prstGeom prst="rect">
            <a:avLst/>
          </a:prstGeom>
        </p:spPr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6B6A2B6-A4A4-4A4A-8CD5-698879BC50F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600">
                <a:noFill/>
              </a:defRPr>
            </a:lvl1pPr>
          </a:lstStyle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5887899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2" userDrawn="1">
          <p15:clr>
            <a:srgbClr val="A4A3A4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0BF64466-F367-40DF-8BAC-6FB3B331E88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600">
                <a:noFill/>
              </a:defRPr>
            </a:lvl1pPr>
          </a:lstStyle>
          <a:p>
            <a:endParaRPr lang="da-DK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719421ED-E398-409B-84BF-1D7C32EC7EA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52600" y="6339508"/>
            <a:ext cx="1080000" cy="341053"/>
          </a:xfrm>
          <a:prstGeom prst="rect">
            <a:avLst/>
          </a:prstGeom>
        </p:spPr>
      </p:pic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E74AD59E-A423-4B11-A9D8-860D9ED84A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400" y="36000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/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58C76A65-4949-4712-B40B-9E02FAB683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8290" y="6375818"/>
            <a:ext cx="511868" cy="365125"/>
          </a:xfrm>
        </p:spPr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938780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2" userDrawn="1">
          <p15:clr>
            <a:srgbClr val="A4A3A4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Reference one image DARK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D15AE17-660B-456D-80E6-FF62C98ED0F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5800725" cy="6858000"/>
          </a:xfrm>
          <a:prstGeom prst="rect">
            <a:avLst/>
          </a:prstGeom>
          <a:solidFill>
            <a:schemeClr val="accent1"/>
          </a:solidFill>
        </p:spPr>
        <p:txBody>
          <a:bodyPr tIns="900000" anchor="ctr" anchorCtr="0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and insert image</a:t>
            </a: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defRPr sz="100"/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E7CF9518-F533-485C-96A6-A4571873B0B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53200" y="6339600"/>
            <a:ext cx="1080000" cy="341053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A19D799-5907-4EC7-82C1-D93D0769DDD1}"/>
              </a:ext>
            </a:extLst>
          </p:cNvPr>
          <p:cNvCxnSpPr/>
          <p:nvPr/>
        </p:nvCxnSpPr>
        <p:spPr>
          <a:xfrm flipH="1">
            <a:off x="9672000" y="552450"/>
            <a:ext cx="2520000" cy="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8F86A0B8-2662-4C46-9EA5-A9339075675B}"/>
              </a:ext>
            </a:extLst>
          </p:cNvPr>
          <p:cNvCxnSpPr/>
          <p:nvPr/>
        </p:nvCxnSpPr>
        <p:spPr>
          <a:xfrm flipH="1">
            <a:off x="5800725" y="6258323"/>
            <a:ext cx="2520000" cy="0"/>
          </a:xfrm>
          <a:prstGeom prst="line">
            <a:avLst/>
          </a:prstGeom>
          <a:ln w="920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AF7BDB89-0478-4360-AB35-CE8EB6DB9B7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5999" y="2570696"/>
            <a:ext cx="5367221" cy="48194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lang="da-DK" sz="1800" smtClean="0">
                <a:solidFill>
                  <a:schemeClr val="bg1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28F54DBF-A067-4A56-8AC3-7876AEEF55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6000" y="1829426"/>
            <a:ext cx="5367221" cy="67584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32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4F35B9AA-ACD8-4D84-AB72-7C3D1781B7C6}"/>
              </a:ext>
            </a:extLst>
          </p:cNvPr>
          <p:cNvSpPr txBox="1">
            <a:spLocks/>
          </p:cNvSpPr>
          <p:nvPr/>
        </p:nvSpPr>
        <p:spPr>
          <a:xfrm>
            <a:off x="5879409" y="6375600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mtClean="0">
                <a:solidFill>
                  <a:schemeClr val="bg1"/>
                </a:solidFill>
              </a:rPr>
              <a:pPr/>
              <a:t>‹#›</a:t>
            </a:fld>
            <a:endParaRPr lang="en-GB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2747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839" userDrawn="1">
          <p15:clr>
            <a:srgbClr val="A4A3A4"/>
          </p15:clr>
        </p15:guide>
        <p15:guide id="4" pos="3653" userDrawn="1">
          <p15:clr>
            <a:srgbClr val="A4A3A4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Reference and facts DARK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E7CF9518-F533-485C-96A6-A4571873B0B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53200" y="6339600"/>
            <a:ext cx="1080000" cy="341053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A19D799-5907-4EC7-82C1-D93D0769DDD1}"/>
              </a:ext>
            </a:extLst>
          </p:cNvPr>
          <p:cNvCxnSpPr/>
          <p:nvPr/>
        </p:nvCxnSpPr>
        <p:spPr>
          <a:xfrm flipH="1">
            <a:off x="9672000" y="552450"/>
            <a:ext cx="2520000" cy="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09ED8FF1-9D26-42A9-8073-D4A294C8CEAE}"/>
              </a:ext>
            </a:extLst>
          </p:cNvPr>
          <p:cNvCxnSpPr/>
          <p:nvPr/>
        </p:nvCxnSpPr>
        <p:spPr>
          <a:xfrm flipH="1">
            <a:off x="5800725" y="6258323"/>
            <a:ext cx="2520000" cy="0"/>
          </a:xfrm>
          <a:prstGeom prst="line">
            <a:avLst/>
          </a:prstGeom>
          <a:ln w="920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D15AE17-660B-456D-80E6-FF62C98ED0F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5800725" cy="6858000"/>
          </a:xfrm>
          <a:prstGeom prst="rect">
            <a:avLst/>
          </a:prstGeom>
          <a:solidFill>
            <a:schemeClr val="accent1"/>
          </a:solidFill>
        </p:spPr>
        <p:txBody>
          <a:bodyPr tIns="900000" anchor="ctr" anchorCtr="0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and insert image</a:t>
            </a:r>
          </a:p>
        </p:txBody>
      </p:sp>
      <p:sp>
        <p:nvSpPr>
          <p:cNvPr id="45" name="Text Placeholder 3">
            <a:extLst>
              <a:ext uri="{FF2B5EF4-FFF2-40B4-BE49-F238E27FC236}">
                <a16:creationId xmlns:a16="http://schemas.microsoft.com/office/drawing/2014/main" id="{31BAF997-FD75-4017-B769-FDDDCB9192F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4800" y="754690"/>
            <a:ext cx="5738659" cy="29031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18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44" name="Text Placeholder 4">
            <a:extLst>
              <a:ext uri="{FF2B5EF4-FFF2-40B4-BE49-F238E27FC236}">
                <a16:creationId xmlns:a16="http://schemas.microsoft.com/office/drawing/2014/main" id="{11C61C4F-80D2-44D9-AC16-5BDCC4AC253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4800" y="1160111"/>
            <a:ext cx="5738659" cy="73902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a-DK" sz="1600" smtClean="0">
                <a:solidFill>
                  <a:schemeClr val="bg1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09C1B046-D6B5-4371-A674-A47AB750D9B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4800" y="2025964"/>
            <a:ext cx="5738659" cy="29031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18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D9B19447-67A9-477A-9926-6404F0B27B1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094800" y="2431385"/>
            <a:ext cx="5738659" cy="73902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a-DK" sz="1600" smtClean="0">
                <a:solidFill>
                  <a:schemeClr val="bg1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1BDF280D-5740-4598-9F88-5A973A1F19D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094800" y="3280580"/>
            <a:ext cx="5738659" cy="29031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18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C1CF04E5-1C6D-46BE-8D2D-3374C592F1A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094800" y="3686001"/>
            <a:ext cx="5738659" cy="73902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a-DK" sz="1600" smtClean="0">
                <a:solidFill>
                  <a:schemeClr val="bg1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0EF5E4F9-47C1-4917-A884-EB33552E061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094800" y="4579654"/>
            <a:ext cx="5738659" cy="29031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18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CC9EE376-9E88-4E73-8A59-CB3065906C5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4800" y="4985075"/>
            <a:ext cx="5738659" cy="73902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marR="0" indent="0" algn="l" defTabSz="914400" rtl="0" eaLnBrk="1" fontAlgn="auto" latinLnBrk="0" hangingPunct="1">
              <a:lnSpc>
                <a:spcPts val="18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a-DK" sz="1600" smtClean="0">
                <a:solidFill>
                  <a:schemeClr val="bg1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B1BFABB9-4CC8-41F9-AAD1-42B132A2A45B}"/>
              </a:ext>
            </a:extLst>
          </p:cNvPr>
          <p:cNvSpPr txBox="1">
            <a:spLocks/>
          </p:cNvSpPr>
          <p:nvPr/>
        </p:nvSpPr>
        <p:spPr>
          <a:xfrm>
            <a:off x="5879409" y="6375600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800" smtClean="0">
                <a:solidFill>
                  <a:schemeClr val="bg1"/>
                </a:solidFill>
              </a:rPr>
              <a:pPr/>
              <a:t>‹#›</a:t>
            </a:fld>
            <a:endParaRPr lang="en-GB" sz="800" dirty="0">
              <a:solidFill>
                <a:schemeClr val="bg1"/>
              </a:solidFill>
            </a:endParaRP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defRPr sz="100"/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790220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839" userDrawn="1">
          <p15:clr>
            <a:srgbClr val="A4A3A4"/>
          </p15:clr>
        </p15:guide>
        <p15:guide id="4" pos="3653" userDrawn="1">
          <p15:clr>
            <a:srgbClr val="A4A3A4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Reference one imag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D23D70F-C0EE-4776-AA20-24BC8D2345C7}"/>
              </a:ext>
            </a:extLst>
          </p:cNvPr>
          <p:cNvCxnSpPr/>
          <p:nvPr/>
        </p:nvCxnSpPr>
        <p:spPr>
          <a:xfrm flipH="1">
            <a:off x="9672000" y="552450"/>
            <a:ext cx="2520000" cy="0"/>
          </a:xfrm>
          <a:prstGeom prst="line">
            <a:avLst/>
          </a:prstGeom>
          <a:ln w="158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AFDB978-3191-443B-88E5-D71E677F57EF}"/>
              </a:ext>
            </a:extLst>
          </p:cNvPr>
          <p:cNvCxnSpPr/>
          <p:nvPr/>
        </p:nvCxnSpPr>
        <p:spPr>
          <a:xfrm flipH="1">
            <a:off x="5800725" y="6258323"/>
            <a:ext cx="2520000" cy="0"/>
          </a:xfrm>
          <a:prstGeom prst="line">
            <a:avLst/>
          </a:prstGeom>
          <a:ln w="920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D15AE17-660B-456D-80E6-FF62C98ED0F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5800725" cy="6858000"/>
          </a:xfrm>
          <a:prstGeom prst="rect">
            <a:avLst/>
          </a:prstGeom>
          <a:solidFill>
            <a:schemeClr val="accent1"/>
          </a:solidFill>
        </p:spPr>
        <p:txBody>
          <a:bodyPr tIns="900000" anchor="ctr" anchorCtr="0"/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Click and insert image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96CCEC0C-F71A-45E4-9C98-E2F789A96F7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4800" y="1829426"/>
            <a:ext cx="5367221" cy="675848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sz="3200">
                <a:solidFill>
                  <a:schemeClr val="accent5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2617F579-E538-4349-9075-EA9ED3F0748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4800" y="2570696"/>
            <a:ext cx="5367221" cy="481949"/>
          </a:xfrm>
          <a:prstGeom prst="rect">
            <a:avLst/>
          </a:prstGeom>
          <a:noFill/>
        </p:spPr>
        <p:txBody>
          <a:bodyPr wrap="square" lIns="72000" tIns="36000" rIns="72000" bIns="36000">
            <a:noAutofit/>
          </a:bodyPr>
          <a:lstStyle>
            <a:lvl1pPr marL="0" indent="0">
              <a:spcBef>
                <a:spcPts val="900"/>
              </a:spcBef>
              <a:buFont typeface="Arial" panose="020B0604020202020204" pitchFamily="34" charset="0"/>
              <a:buChar char="​"/>
              <a:defRPr lang="da-DK" sz="1800" smtClean="0">
                <a:solidFill>
                  <a:schemeClr val="accent5"/>
                </a:solidFill>
                <a:effectLst/>
              </a:defRPr>
            </a:lvl1pPr>
            <a:lvl2pPr marL="0" indent="0">
              <a:spcBef>
                <a:spcPts val="900"/>
              </a:spcBef>
              <a:buNone/>
              <a:defRPr>
                <a:latin typeface="+mj-lt"/>
              </a:defRPr>
            </a:lvl2pPr>
            <a:lvl3pPr marL="542925" indent="0">
              <a:spcBef>
                <a:spcPts val="900"/>
              </a:spcBef>
              <a:buNone/>
              <a:defRPr>
                <a:latin typeface="+mj-lt"/>
              </a:defRPr>
            </a:lvl3pPr>
            <a:lvl4pPr marL="990600" indent="0">
              <a:spcBef>
                <a:spcPts val="900"/>
              </a:spcBef>
              <a:buNone/>
              <a:defRPr>
                <a:latin typeface="+mj-lt"/>
              </a:defRPr>
            </a:lvl4pPr>
            <a:lvl5pPr marL="1438275" indent="0">
              <a:spcBef>
                <a:spcPts val="900"/>
              </a:spcBef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Click to edit text</a:t>
            </a:r>
            <a:endParaRPr lang="da-DK" dirty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D96EC195-29C5-4E6F-855E-1DA168F45016}"/>
              </a:ext>
            </a:extLst>
          </p:cNvPr>
          <p:cNvSpPr txBox="1">
            <a:spLocks/>
          </p:cNvSpPr>
          <p:nvPr/>
        </p:nvSpPr>
        <p:spPr>
          <a:xfrm>
            <a:off x="10762637" y="6339507"/>
            <a:ext cx="1069963" cy="341053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1D9FAB6A-CFE4-4439-A6A6-2F7CCD566AE7}"/>
              </a:ext>
            </a:extLst>
          </p:cNvPr>
          <p:cNvSpPr txBox="1">
            <a:spLocks/>
          </p:cNvSpPr>
          <p:nvPr/>
        </p:nvSpPr>
        <p:spPr>
          <a:xfrm>
            <a:off x="5879409" y="6375600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800" smtClean="0">
                <a:solidFill>
                  <a:schemeClr val="accent4"/>
                </a:solidFill>
              </a:rPr>
              <a:pPr/>
              <a:t>‹#›</a:t>
            </a:fld>
            <a:endParaRPr lang="en-GB" sz="800" dirty="0">
              <a:solidFill>
                <a:schemeClr val="accent4"/>
              </a:solidFill>
            </a:endParaRP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defRPr sz="100"/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9E67D29F-1395-41F7-A859-AF94C38800F7}"/>
              </a:ext>
            </a:extLst>
          </p:cNvPr>
          <p:cNvSpPr txBox="1">
            <a:spLocks/>
          </p:cNvSpPr>
          <p:nvPr userDrawn="1"/>
        </p:nvSpPr>
        <p:spPr>
          <a:xfrm>
            <a:off x="10762637" y="6339507"/>
            <a:ext cx="1069963" cy="341053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45720" rIns="91440" bIns="45720" rtlCol="0" anchor="b">
            <a:no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068878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653" userDrawn="1">
          <p15:clr>
            <a:srgbClr val="A4A3A4"/>
          </p15:clr>
        </p15:guide>
        <p15:guide id="4" pos="3839" userDrawn="1">
          <p15:clr>
            <a:srgbClr val="A4A3A4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9C2A3EC6-870A-493B-88F3-272F24566F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400" y="360000"/>
            <a:ext cx="11473200" cy="619713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/>
          <a:p>
            <a:r>
              <a:rPr lang="en-US" dirty="0"/>
              <a:t>Click to edit headline</a:t>
            </a:r>
            <a:endParaRPr lang="da-DK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A1FA59B7-C940-4163-9565-C30FF23A125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8290" y="6375818"/>
            <a:ext cx="511868" cy="3651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8B34B12-4528-4532-A8B2-B4BE1137B7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59400" y="1512000"/>
            <a:ext cx="11472238" cy="46475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173036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57" r:id="rId1"/>
    <p:sldLayoutId id="2147484558" r:id="rId2"/>
    <p:sldLayoutId id="2147484559" r:id="rId3"/>
    <p:sldLayoutId id="2147484560" r:id="rId4"/>
    <p:sldLayoutId id="2147484561" r:id="rId5"/>
    <p:sldLayoutId id="2147484562" r:id="rId6"/>
    <p:sldLayoutId id="2147484563" r:id="rId7"/>
    <p:sldLayoutId id="2147484564" r:id="rId8"/>
    <p:sldLayoutId id="2147484565" r:id="rId9"/>
    <p:sldLayoutId id="2147484566" r:id="rId10"/>
    <p:sldLayoutId id="2147484567" r:id="rId11"/>
    <p:sldLayoutId id="2147484568" r:id="rId12"/>
    <p:sldLayoutId id="2147484569" r:id="rId13"/>
    <p:sldLayoutId id="2147484570" r:id="rId14"/>
    <p:sldLayoutId id="2147484571" r:id="rId15"/>
    <p:sldLayoutId id="2147484572" r:id="rId16"/>
    <p:sldLayoutId id="2147484573" r:id="rId17"/>
    <p:sldLayoutId id="2147484574" r:id="rId18"/>
    <p:sldLayoutId id="2147484575" r:id="rId19"/>
    <p:sldLayoutId id="2147484576" r:id="rId20"/>
    <p:sldLayoutId id="2147484577" r:id="rId21"/>
    <p:sldLayoutId id="2147484578" r:id="rId22"/>
    <p:sldLayoutId id="2147484579" r:id="rId23"/>
    <p:sldLayoutId id="2147484580" r:id="rId24"/>
    <p:sldLayoutId id="2147484581" r:id="rId25"/>
    <p:sldLayoutId id="2147484582" r:id="rId26"/>
    <p:sldLayoutId id="2147484583" r:id="rId27"/>
    <p:sldLayoutId id="2147484584" r:id="rId28"/>
    <p:sldLayoutId id="2147484585" r:id="rId29"/>
    <p:sldLayoutId id="2147484586" r:id="rId3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85750" indent="-28575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568800" indent="-2857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53200" indent="-2857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​"/>
        <a:defRPr sz="1600" kern="1200">
          <a:solidFill>
            <a:schemeClr val="tx1"/>
          </a:solidFill>
          <a:latin typeface="Segoe UI Black" panose="020B0A02040204020203" pitchFamily="34" charset="0"/>
          <a:ea typeface="Segoe UI Black" panose="020B0A02040204020203" pitchFamily="34" charset="0"/>
          <a:cs typeface="+mn-cs"/>
        </a:defRPr>
      </a:lvl4pPr>
      <a:lvl5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6" pos="226" userDrawn="1">
          <p15:clr>
            <a:srgbClr val="A4A3A4"/>
          </p15:clr>
        </p15:guide>
        <p15:guide id="7" pos="7453" userDrawn="1">
          <p15:clr>
            <a:srgbClr val="A4A3A4"/>
          </p15:clr>
        </p15:guide>
        <p15:guide id="8" orient="horz" pos="226" userDrawn="1">
          <p15:clr>
            <a:srgbClr val="A4A3A4"/>
          </p15:clr>
        </p15:guide>
        <p15:guide id="9" orient="horz" pos="3880" userDrawn="1">
          <p15:clr>
            <a:srgbClr val="A4A3A4"/>
          </p15:clr>
        </p15:guide>
        <p15:guide id="10" pos="276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1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35.jpeg"/><Relationship Id="rId4" Type="http://schemas.openxmlformats.org/officeDocument/2006/relationships/image" Target="../media/image34.jpe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2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10" descr="A picture containing sky, outdoor, city&#10;&#10;Description automatically generated">
            <a:extLst>
              <a:ext uri="{FF2B5EF4-FFF2-40B4-BE49-F238E27FC236}">
                <a16:creationId xmlns:a16="http://schemas.microsoft.com/office/drawing/2014/main" id="{DF5B23B0-0E2C-4535-9D13-7623A5C33FAB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88" b="7788"/>
          <a:stretch>
            <a:fillRect/>
          </a:stretch>
        </p:blipFill>
        <p:spPr/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7140643-AD98-40B5-B2ED-8465B165D2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okument id her</a:t>
            </a:r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A4B46A7-19A4-48A3-B9EF-A13E4009FFC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5400BCF-884F-4C8B-8A13-0498C9332C5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37948D7-D505-4DC6-811E-EB4A0024A0C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D27D2590-FF03-4992-9641-CC9D09301C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8290" y="6375818"/>
            <a:ext cx="511868" cy="365125"/>
          </a:xfrm>
        </p:spPr>
        <p:txBody>
          <a:bodyPr/>
          <a:lstStyle/>
          <a:p>
            <a:fld id="{24C8C45C-947F-4981-8B3F-4F32E973C901}" type="slidenum">
              <a:rPr lang="en-GB" smtClean="0"/>
              <a:pPr/>
              <a:t>1</a:t>
            </a:fld>
            <a:endParaRPr lang="en-GB" dirty="0"/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1F755A64-8CAC-47AC-93DB-FDE781CDF04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41616836"/>
              </p:ext>
            </p:extLst>
          </p:nvPr>
        </p:nvGraphicFramePr>
        <p:xfrm>
          <a:off x="548492" y="619312"/>
          <a:ext cx="7046794" cy="341007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8032">
                  <a:extLst>
                    <a:ext uri="{9D8B030D-6E8A-4147-A177-3AD203B41FA5}">
                      <a16:colId xmlns:a16="http://schemas.microsoft.com/office/drawing/2014/main" val="3060352896"/>
                    </a:ext>
                  </a:extLst>
                </a:gridCol>
                <a:gridCol w="338433">
                  <a:extLst>
                    <a:ext uri="{9D8B030D-6E8A-4147-A177-3AD203B41FA5}">
                      <a16:colId xmlns:a16="http://schemas.microsoft.com/office/drawing/2014/main" val="3852382277"/>
                    </a:ext>
                  </a:extLst>
                </a:gridCol>
                <a:gridCol w="6024779">
                  <a:extLst>
                    <a:ext uri="{9D8B030D-6E8A-4147-A177-3AD203B41FA5}">
                      <a16:colId xmlns:a16="http://schemas.microsoft.com/office/drawing/2014/main" val="3318055102"/>
                    </a:ext>
                  </a:extLst>
                </a:gridCol>
                <a:gridCol w="338433">
                  <a:extLst>
                    <a:ext uri="{9D8B030D-6E8A-4147-A177-3AD203B41FA5}">
                      <a16:colId xmlns:a16="http://schemas.microsoft.com/office/drawing/2014/main" val="2962095205"/>
                    </a:ext>
                  </a:extLst>
                </a:gridCol>
                <a:gridCol w="177117">
                  <a:extLst>
                    <a:ext uri="{9D8B030D-6E8A-4147-A177-3AD203B41FA5}">
                      <a16:colId xmlns:a16="http://schemas.microsoft.com/office/drawing/2014/main" val="337404660"/>
                    </a:ext>
                  </a:extLst>
                </a:gridCol>
              </a:tblGrid>
              <a:tr h="101600">
                <a:tc>
                  <a:txBody>
                    <a:bodyPr/>
                    <a:lstStyle/>
                    <a:p>
                      <a:pPr algn="r"/>
                      <a:endParaRPr lang="en-US" sz="1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71972822"/>
                  </a:ext>
                </a:extLst>
              </a:tr>
              <a:tr h="1524959">
                <a:tc>
                  <a:txBody>
                    <a:bodyPr/>
                    <a:lstStyle/>
                    <a:p>
                      <a:pPr algn="r"/>
                      <a:endParaRPr lang="en-US" sz="1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30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72000" marB="72000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3000" b="0" dirty="0" err="1">
                          <a:solidFill>
                            <a:schemeClr val="tx1"/>
                          </a:solidFill>
                          <a:latin typeface="+mj-lt"/>
                        </a:rPr>
                        <a:t>Nordhavnen</a:t>
                      </a:r>
                      <a:r>
                        <a:rPr lang="en-US" sz="3000" b="0" dirty="0">
                          <a:solidFill>
                            <a:schemeClr val="tx1"/>
                          </a:solidFill>
                          <a:latin typeface="+mj-lt"/>
                        </a:rPr>
                        <a:t>, </a:t>
                      </a:r>
                      <a:r>
                        <a:rPr lang="en-US" sz="3000" b="0" dirty="0" err="1">
                          <a:solidFill>
                            <a:schemeClr val="tx1"/>
                          </a:solidFill>
                          <a:latin typeface="+mj-lt"/>
                        </a:rPr>
                        <a:t>Byggefelt</a:t>
                      </a:r>
                      <a:r>
                        <a:rPr lang="en-US" sz="3000" b="0" dirty="0">
                          <a:solidFill>
                            <a:schemeClr val="tx1"/>
                          </a:solidFill>
                          <a:latin typeface="+mj-lt"/>
                        </a:rPr>
                        <a:t> 3.04 og 3.06</a:t>
                      </a:r>
                    </a:p>
                  </a:txBody>
                  <a:tcPr marL="0" marR="0" marT="122400" marB="1404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72000" marB="72000">
                    <a:lnL w="12700" cmpd="sng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9338731"/>
                  </a:ext>
                </a:extLst>
              </a:tr>
              <a:tr h="515566">
                <a:tc>
                  <a:txBody>
                    <a:bodyPr/>
                    <a:lstStyle/>
                    <a:p>
                      <a:pPr algn="r"/>
                      <a:endParaRPr lang="en-US" sz="1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a-DK" sz="2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et skal ikke være let at lave pælefundering og ankre</a:t>
                      </a:r>
                      <a:r>
                        <a:rPr lang="da-DK" sz="2000" kern="1200" dirty="0">
                          <a:solidFill>
                            <a:schemeClr val="tx1"/>
                          </a:solidFill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 </a:t>
                      </a:r>
                      <a:endParaRPr lang="en-US" sz="2000" kern="1200" dirty="0">
                        <a:solidFill>
                          <a:schemeClr val="tx1"/>
                        </a:solidFill>
                        <a:latin typeface="Palatino Linotype" panose="02040502050505030304" pitchFamily="18" charset="0"/>
                        <a:ea typeface="+mn-ea"/>
                        <a:cs typeface="+mn-cs"/>
                      </a:endParaRPr>
                    </a:p>
                  </a:txBody>
                  <a:tcPr marL="0" marR="0" marT="126000" marB="1080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52325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r"/>
                      <a:endParaRPr lang="en-US" sz="1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cap="none" dirty="0">
                          <a:solidFill>
                            <a:schemeClr val="tx1"/>
                          </a:solidFill>
                          <a:latin typeface="+mn-lt"/>
                        </a:rPr>
                        <a:t>24. marts 2022</a:t>
                      </a:r>
                    </a:p>
                    <a:p>
                      <a:pPr algn="l"/>
                      <a:endParaRPr lang="en-US" sz="1400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algn="l"/>
                      <a:endParaRPr lang="en-US" sz="1400" cap="none" dirty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algn="l"/>
                      <a:r>
                        <a:rPr lang="en-US" sz="1600" cap="none" dirty="0">
                          <a:solidFill>
                            <a:schemeClr val="tx1"/>
                          </a:solidFill>
                          <a:latin typeface="+mn-lt"/>
                        </a:rPr>
                        <a:t>Thomas Gribsholt-Beck, NIRAS</a:t>
                      </a:r>
                      <a:endParaRPr lang="en-US" sz="1600" cap="all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72000" marB="1872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3507757"/>
                  </a:ext>
                </a:extLst>
              </a:tr>
              <a:tr h="101600">
                <a:tc>
                  <a:txBody>
                    <a:bodyPr/>
                    <a:lstStyle/>
                    <a:p>
                      <a:pPr algn="r"/>
                      <a:endParaRPr lang="en-US" sz="1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" cap="all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965308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5866994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23">
            <a:extLst>
              <a:ext uri="{FF2B5EF4-FFF2-40B4-BE49-F238E27FC236}">
                <a16:creationId xmlns:a16="http://schemas.microsoft.com/office/drawing/2014/main" id="{31634825-C78B-4158-8B7C-97BA5FB39B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399" y="360000"/>
            <a:ext cx="11659812" cy="619713"/>
          </a:xfrm>
        </p:spPr>
        <p:txBody>
          <a:bodyPr anchor="t">
            <a:noAutofit/>
          </a:bodyPr>
          <a:lstStyle/>
          <a:p>
            <a:r>
              <a:rPr lang="en-US" sz="3700" b="1" dirty="0"/>
              <a:t>Prøveramningen</a:t>
            </a:r>
          </a:p>
        </p:txBody>
      </p:sp>
      <p:sp>
        <p:nvSpPr>
          <p:cNvPr id="31" name="Slide Number Placeholder 3">
            <a:extLst>
              <a:ext uri="{FF2B5EF4-FFF2-40B4-BE49-F238E27FC236}">
                <a16:creationId xmlns:a16="http://schemas.microsoft.com/office/drawing/2014/main" id="{EBAB7D44-3C05-A937-A2FF-C477ABDEF6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9600" y="6375818"/>
            <a:ext cx="511868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fld id="{24C8C45C-947F-4981-8B3F-4F32E973C901}" type="slidenum">
              <a:rPr lang="en-GB" smtClean="0"/>
              <a:pPr>
                <a:spcAft>
                  <a:spcPts val="600"/>
                </a:spcAft>
              </a:pPr>
              <a:t>10</a:t>
            </a:fld>
            <a:endParaRPr lang="en-GB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26CD05F-FB19-4499-B143-655B84CA5FD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59399" y="1299529"/>
            <a:ext cx="8859246" cy="1462332"/>
          </a:xfrm>
        </p:spPr>
        <p:txBody>
          <a:bodyPr>
            <a:noAutofit/>
          </a:bodyPr>
          <a:lstStyle/>
          <a:p>
            <a:r>
              <a:rPr lang="da-DK" sz="2000" dirty="0"/>
              <a:t>Prøvepæle fra terræn pga. stram tidsplan</a:t>
            </a:r>
          </a:p>
          <a:p>
            <a:r>
              <a:rPr lang="da-DK" sz="2000" dirty="0"/>
              <a:t>Fradrag i indramningsmodstand pga. ekstra overlejringstryk fra jord</a:t>
            </a:r>
          </a:p>
          <a:p>
            <a:pPr marL="269875" indent="0">
              <a:buNone/>
            </a:pPr>
            <a:r>
              <a:rPr lang="da-DK" dirty="0"/>
              <a:t>- Fradrag afhang både af </a:t>
            </a:r>
            <a:r>
              <a:rPr lang="da-DK" u="sng" dirty="0"/>
              <a:t>pælespidskote</a:t>
            </a:r>
            <a:r>
              <a:rPr lang="da-DK" dirty="0"/>
              <a:t> og fremtidig niveau af </a:t>
            </a:r>
            <a:r>
              <a:rPr lang="da-DK" u="sng" dirty="0"/>
              <a:t>fundamentsunderkant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587DAD8-CAB8-48A7-B201-66622ECFBBCF}"/>
              </a:ext>
            </a:extLst>
          </p:cNvPr>
          <p:cNvSpPr txBox="1">
            <a:spLocks/>
          </p:cNvSpPr>
          <p:nvPr/>
        </p:nvSpPr>
        <p:spPr>
          <a:xfrm>
            <a:off x="449911" y="3047805"/>
            <a:ext cx="5461000" cy="3121025"/>
          </a:xfrm>
          <a:prstGeom prst="rect">
            <a:avLst/>
          </a:prstGeom>
        </p:spPr>
        <p:txBody>
          <a:bodyPr vert="horz" lIns="72000" tIns="36000" rIns="72000" bIns="36000" rtlCol="0">
            <a:normAutofit/>
          </a:bodyPr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880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320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da-DK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45FA9F2-A28E-41FB-9686-9FE9C8ACA7E4}"/>
              </a:ext>
            </a:extLst>
          </p:cNvPr>
          <p:cNvSpPr txBox="1"/>
          <p:nvPr/>
        </p:nvSpPr>
        <p:spPr>
          <a:xfrm>
            <a:off x="8699236" y="1579637"/>
            <a:ext cx="331997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US" sz="16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65DBD97-FFA9-4000-92C6-B4711BDDCC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84979" y="2474724"/>
            <a:ext cx="4187621" cy="4006708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EB10DDCD-4CBE-4385-90D8-D325F8D8F249}"/>
              </a:ext>
            </a:extLst>
          </p:cNvPr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9174"/>
          <a:stretch/>
        </p:blipFill>
        <p:spPr bwMode="auto">
          <a:xfrm rot="5400000">
            <a:off x="1075714" y="2565276"/>
            <a:ext cx="4002587" cy="3829727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51954495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23">
            <a:extLst>
              <a:ext uri="{FF2B5EF4-FFF2-40B4-BE49-F238E27FC236}">
                <a16:creationId xmlns:a16="http://schemas.microsoft.com/office/drawing/2014/main" id="{31634825-C78B-4158-8B7C-97BA5FB39B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4401" y="360000"/>
            <a:ext cx="11737280" cy="619713"/>
          </a:xfrm>
        </p:spPr>
        <p:txBody>
          <a:bodyPr anchor="t">
            <a:noAutofit/>
          </a:bodyPr>
          <a:lstStyle/>
          <a:p>
            <a:r>
              <a:rPr lang="en-US" sz="3700" b="1" dirty="0"/>
              <a:t>Mange </a:t>
            </a:r>
            <a:r>
              <a:rPr lang="en-US" sz="3700" b="1" dirty="0" err="1"/>
              <a:t>pæle</a:t>
            </a:r>
            <a:r>
              <a:rPr lang="en-US" sz="3700" b="1" dirty="0"/>
              <a:t> </a:t>
            </a:r>
            <a:r>
              <a:rPr lang="en-US" sz="3700" b="1" dirty="0" err="1"/>
              <a:t>kunne</a:t>
            </a:r>
            <a:r>
              <a:rPr lang="en-US" sz="3700" b="1" dirty="0"/>
              <a:t> </a:t>
            </a:r>
            <a:r>
              <a:rPr lang="en-US" sz="3700" b="1" dirty="0" err="1"/>
              <a:t>ikke</a:t>
            </a:r>
            <a:r>
              <a:rPr lang="en-US" sz="3700" b="1" dirty="0"/>
              <a:t> </a:t>
            </a:r>
            <a:r>
              <a:rPr lang="en-US" sz="3700" b="1" dirty="0" err="1"/>
              <a:t>rammes</a:t>
            </a:r>
            <a:r>
              <a:rPr lang="en-US" sz="3700" b="1" dirty="0"/>
              <a:t> </a:t>
            </a:r>
            <a:r>
              <a:rPr lang="en-US" sz="3700" b="1" dirty="0" err="1"/>
              <a:t>ned</a:t>
            </a:r>
            <a:r>
              <a:rPr lang="en-US" sz="3700" b="1" dirty="0"/>
              <a:t> ved prøveramningen</a:t>
            </a:r>
          </a:p>
        </p:txBody>
      </p:sp>
      <p:sp>
        <p:nvSpPr>
          <p:cNvPr id="31" name="Slide Number Placeholder 3">
            <a:extLst>
              <a:ext uri="{FF2B5EF4-FFF2-40B4-BE49-F238E27FC236}">
                <a16:creationId xmlns:a16="http://schemas.microsoft.com/office/drawing/2014/main" id="{EBAB7D44-3C05-A937-A2FF-C477ABDEF6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9600" y="6375818"/>
            <a:ext cx="511868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fld id="{24C8C45C-947F-4981-8B3F-4F32E973C901}" type="slidenum">
              <a:rPr lang="en-GB" smtClean="0"/>
              <a:pPr>
                <a:spcAft>
                  <a:spcPts val="600"/>
                </a:spcAft>
              </a:pPr>
              <a:t>11</a:t>
            </a:fld>
            <a:endParaRPr lang="en-GB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26CD05F-FB19-4499-B143-655B84CA5FD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59399" y="1299529"/>
            <a:ext cx="8859246" cy="501279"/>
          </a:xfrm>
        </p:spPr>
        <p:txBody>
          <a:bodyPr>
            <a:noAutofit/>
          </a:bodyPr>
          <a:lstStyle/>
          <a:p>
            <a:r>
              <a:rPr lang="da-DK" sz="2000" dirty="0"/>
              <a:t>Pæle ikke kunne rammes til fuld dybde =&gt; manglende trækkapacitet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587DAD8-CAB8-48A7-B201-66622ECFBBCF}"/>
              </a:ext>
            </a:extLst>
          </p:cNvPr>
          <p:cNvSpPr txBox="1">
            <a:spLocks/>
          </p:cNvSpPr>
          <p:nvPr/>
        </p:nvSpPr>
        <p:spPr>
          <a:xfrm>
            <a:off x="449911" y="3047805"/>
            <a:ext cx="5461000" cy="3121025"/>
          </a:xfrm>
          <a:prstGeom prst="rect">
            <a:avLst/>
          </a:prstGeom>
        </p:spPr>
        <p:txBody>
          <a:bodyPr vert="horz" lIns="72000" tIns="36000" rIns="72000" bIns="36000" rtlCol="0">
            <a:normAutofit/>
          </a:bodyPr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880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320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da-DK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45FA9F2-A28E-41FB-9686-9FE9C8ACA7E4}"/>
              </a:ext>
            </a:extLst>
          </p:cNvPr>
          <p:cNvSpPr txBox="1"/>
          <p:nvPr/>
        </p:nvSpPr>
        <p:spPr>
          <a:xfrm>
            <a:off x="8699236" y="1579637"/>
            <a:ext cx="331997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US" sz="1600" dirty="0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FD5BDD03-E9CC-48A4-9BA0-52404AF18A36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468" y="2036369"/>
            <a:ext cx="5461000" cy="4133314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4B1723E9-B71B-4D85-99CE-A1FCBD450491}"/>
              </a:ext>
            </a:extLst>
          </p:cNvPr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966"/>
          <a:stretch/>
        </p:blipFill>
        <p:spPr bwMode="auto">
          <a:xfrm>
            <a:off x="6699375" y="2045700"/>
            <a:ext cx="4198257" cy="4133314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31226204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23">
            <a:extLst>
              <a:ext uri="{FF2B5EF4-FFF2-40B4-BE49-F238E27FC236}">
                <a16:creationId xmlns:a16="http://schemas.microsoft.com/office/drawing/2014/main" id="{31634825-C78B-4158-8B7C-97BA5FB39B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400" y="360000"/>
            <a:ext cx="11473200" cy="619713"/>
          </a:xfrm>
        </p:spPr>
        <p:txBody>
          <a:bodyPr anchor="t">
            <a:normAutofit/>
          </a:bodyPr>
          <a:lstStyle/>
          <a:p>
            <a:r>
              <a:rPr lang="en-US" sz="3700" b="1" dirty="0" err="1"/>
              <a:t>Overordnede</a:t>
            </a:r>
            <a:r>
              <a:rPr lang="en-US" sz="3700" b="1" dirty="0"/>
              <a:t> </a:t>
            </a:r>
            <a:r>
              <a:rPr lang="en-US" sz="3700" b="1" dirty="0" err="1"/>
              <a:t>problemstillinger</a:t>
            </a:r>
            <a:endParaRPr lang="en-US" sz="3700" b="1" dirty="0"/>
          </a:p>
        </p:txBody>
      </p:sp>
      <p:sp>
        <p:nvSpPr>
          <p:cNvPr id="31" name="Slide Number Placeholder 3">
            <a:extLst>
              <a:ext uri="{FF2B5EF4-FFF2-40B4-BE49-F238E27FC236}">
                <a16:creationId xmlns:a16="http://schemas.microsoft.com/office/drawing/2014/main" id="{EBAB7D44-3C05-A937-A2FF-C477ABDEF6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9600" y="6375818"/>
            <a:ext cx="511868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fld id="{24C8C45C-947F-4981-8B3F-4F32E973C901}" type="slidenum">
              <a:rPr lang="en-GB" smtClean="0"/>
              <a:pPr>
                <a:spcAft>
                  <a:spcPts val="600"/>
                </a:spcAft>
              </a:pPr>
              <a:t>12</a:t>
            </a:fld>
            <a:endParaRPr lang="en-GB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587DAD8-CAB8-48A7-B201-66622ECFBBCF}"/>
              </a:ext>
            </a:extLst>
          </p:cNvPr>
          <p:cNvSpPr txBox="1">
            <a:spLocks/>
          </p:cNvSpPr>
          <p:nvPr/>
        </p:nvSpPr>
        <p:spPr>
          <a:xfrm>
            <a:off x="449911" y="3047805"/>
            <a:ext cx="5461000" cy="3121025"/>
          </a:xfrm>
          <a:prstGeom prst="rect">
            <a:avLst/>
          </a:prstGeom>
        </p:spPr>
        <p:txBody>
          <a:bodyPr vert="horz" lIns="72000" tIns="36000" rIns="72000" bIns="36000" rtlCol="0">
            <a:normAutofit/>
          </a:bodyPr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880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320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da-DK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45FA9F2-A28E-41FB-9686-9FE9C8ACA7E4}"/>
              </a:ext>
            </a:extLst>
          </p:cNvPr>
          <p:cNvSpPr txBox="1"/>
          <p:nvPr/>
        </p:nvSpPr>
        <p:spPr>
          <a:xfrm>
            <a:off x="8699236" y="1640396"/>
            <a:ext cx="331997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US" sz="16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F07828C-E04E-4EAF-A8CB-DF80BEA9C394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73881" y="1280011"/>
            <a:ext cx="11790125" cy="4888819"/>
          </a:xfrm>
        </p:spPr>
        <p:txBody>
          <a:bodyPr>
            <a:noAutofit/>
          </a:bodyPr>
          <a:lstStyle/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dledende: Stor opdrift fra vandtryk =&gt; ret mange trækpæle =&gt; eftervisning af gruppevirkning</a:t>
            </a: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ange pæle kunne ikke rammes ned ved prøveramning  =&gt;  udfordringer med trækkapacitet</a:t>
            </a: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solidFill>
                  <a:srgbClr val="FF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nkre &gt;&lt; stålpæle – eller satse på, at betonpæle kunne rammes ned (risikoanalyse)?</a:t>
            </a: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ftervisning af trykkapacitet: Meget varierende jordbundsforhold =&gt; nødvendigt med stort omfang af PDA-målinger. </a:t>
            </a: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Korrigering af bæreevne for ekstra overlejring pga. højere rammeplanum og grundvandssænkning.</a:t>
            </a:r>
            <a:endParaRPr lang="da-DK" sz="17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ange knækkede pæle</a:t>
            </a:r>
            <a:r>
              <a:rPr lang="da-DK" sz="17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</a:t>
            </a: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For hurtig levering? For lidt længdearmering? </a:t>
            </a:r>
            <a:endParaRPr lang="da-DK" sz="17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everanceproblemer: Min. 3 ugers leveringstid =&gt; Ikke muligt med forsøg med større pæle eller pæle med mere længdearmering.</a:t>
            </a:r>
            <a:endParaRPr lang="da-DK" sz="17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tablering af jordankre: Sikring mod opadrettede grundvandsstrømninger fra vandmagasiner i kalken.</a:t>
            </a:r>
            <a:endParaRPr lang="da-DK" sz="17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spcAft>
                <a:spcPts val="400"/>
              </a:spcAft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pdriftsankre tæt på pæle: Skulle pæle eller ankre udføres først for ikke at skade hinanden/få indflydelse på bæreevnen?             </a:t>
            </a:r>
            <a:r>
              <a:rPr lang="da-DK" sz="1700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H</a:t>
            </a: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vor langt skulle pælene stå fra ankrene for at risikoen for skader var acceptable?</a:t>
            </a:r>
            <a:endParaRPr lang="da-DK" sz="17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spcAft>
                <a:spcPts val="400"/>
              </a:spcAft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st af jordankre: Begrænsninger i bundpladens kapacitet =&gt; Der skulle anvendes åg for test af ankre.</a:t>
            </a:r>
            <a:endParaRPr lang="da-DK" sz="17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vornår kunne grundvandssænkningen slukkes for ikke at få opdriftsproblemer under udførelsen?</a:t>
            </a: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spcAft>
                <a:spcPts val="400"/>
              </a:spcAft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Generelt: Ingen 100% sikre løsninger =&gt; Inddragelse af bygherre i valg på baggrund af opstilling af risikobillede.</a:t>
            </a:r>
            <a:endParaRPr lang="da-DK" sz="17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spcAft>
                <a:spcPts val="800"/>
              </a:spcAft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tram tidsplan =&gt; træffe hurtige beslutninger om valg af løsninger.</a:t>
            </a:r>
            <a:endParaRPr lang="da-DK" sz="17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863420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23">
            <a:extLst>
              <a:ext uri="{FF2B5EF4-FFF2-40B4-BE49-F238E27FC236}">
                <a16:creationId xmlns:a16="http://schemas.microsoft.com/office/drawing/2014/main" id="{31634825-C78B-4158-8B7C-97BA5FB39B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399" y="360000"/>
            <a:ext cx="11659812" cy="619713"/>
          </a:xfrm>
        </p:spPr>
        <p:txBody>
          <a:bodyPr anchor="t">
            <a:noAutofit/>
          </a:bodyPr>
          <a:lstStyle/>
          <a:p>
            <a:r>
              <a:rPr lang="en-US" sz="3700" b="1" dirty="0" err="1"/>
              <a:t>Optagelse</a:t>
            </a:r>
            <a:r>
              <a:rPr lang="en-US" sz="3700" b="1" dirty="0"/>
              <a:t> af </a:t>
            </a:r>
            <a:r>
              <a:rPr lang="en-US" sz="3700" b="1" dirty="0" err="1"/>
              <a:t>træk</a:t>
            </a:r>
            <a:endParaRPr lang="en-US" sz="3700" b="1" dirty="0"/>
          </a:p>
        </p:txBody>
      </p:sp>
      <p:sp>
        <p:nvSpPr>
          <p:cNvPr id="31" name="Slide Number Placeholder 3">
            <a:extLst>
              <a:ext uri="{FF2B5EF4-FFF2-40B4-BE49-F238E27FC236}">
                <a16:creationId xmlns:a16="http://schemas.microsoft.com/office/drawing/2014/main" id="{EBAB7D44-3C05-A937-A2FF-C477ABDEF6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9600" y="6375818"/>
            <a:ext cx="511868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fld id="{24C8C45C-947F-4981-8B3F-4F32E973C901}" type="slidenum">
              <a:rPr lang="en-GB" smtClean="0"/>
              <a:pPr>
                <a:spcAft>
                  <a:spcPts val="600"/>
                </a:spcAft>
              </a:pPr>
              <a:t>13</a:t>
            </a:fld>
            <a:endParaRPr lang="en-GB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26CD05F-FB19-4499-B143-655B84CA5FD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59398" y="1299529"/>
            <a:ext cx="10296161" cy="2470038"/>
          </a:xfrm>
        </p:spPr>
        <p:txBody>
          <a:bodyPr>
            <a:noAutofit/>
          </a:bodyPr>
          <a:lstStyle/>
          <a:p>
            <a:pPr marL="457200" lvl="0" indent="-457200">
              <a:lnSpc>
                <a:spcPct val="107000"/>
              </a:lnSpc>
              <a:buAutoNum type="arabicParenR"/>
            </a:pPr>
            <a:r>
              <a:rPr lang="da-DK" sz="2000" dirty="0"/>
              <a:t>Satse på at betonpæle kunne komme ned ved alm. ramning: </a:t>
            </a:r>
            <a:r>
              <a:rPr lang="da-DK" sz="2000" dirty="0">
                <a:solidFill>
                  <a:srgbClr val="0070C0"/>
                </a:solidFill>
              </a:rPr>
              <a:t>Billigst, stor risiko</a:t>
            </a:r>
          </a:p>
          <a:p>
            <a:pPr marL="457200" lvl="0" indent="-457200">
              <a:lnSpc>
                <a:spcPct val="107000"/>
              </a:lnSpc>
              <a:buAutoNum type="arabicParenR"/>
            </a:pPr>
            <a:r>
              <a:rPr lang="da-DK" sz="2000" dirty="0"/>
              <a:t>Forboring for pæle: </a:t>
            </a:r>
            <a:r>
              <a:rPr lang="da-DK" sz="2000" dirty="0">
                <a:solidFill>
                  <a:srgbClr val="0070C0"/>
                </a:solidFill>
              </a:rPr>
              <a:t>Dyrere og ret tidskrævende, mindre (men stadig betydelig) risiko</a:t>
            </a:r>
          </a:p>
          <a:p>
            <a:pPr marL="457200" lvl="0" indent="-457200">
              <a:lnSpc>
                <a:spcPct val="107000"/>
              </a:lnSpc>
              <a:buAutoNum type="arabicParenR"/>
            </a:pPr>
            <a:r>
              <a:rPr lang="da-DK" sz="2000" dirty="0"/>
              <a:t>Stålpæle (HE300B): </a:t>
            </a:r>
            <a:r>
              <a:rPr lang="da-DK" sz="2000" dirty="0">
                <a:solidFill>
                  <a:srgbClr val="0070C0"/>
                </a:solidFill>
              </a:rPr>
              <a:t>Endnu dyrere, noget mindre risiko</a:t>
            </a:r>
          </a:p>
          <a:p>
            <a:pPr marL="733425" lvl="0">
              <a:lnSpc>
                <a:spcPct val="107000"/>
              </a:lnSpc>
              <a:buFontTx/>
              <a:buChar char="-"/>
              <a:tabLst>
                <a:tab pos="447675" algn="l"/>
              </a:tabLst>
            </a:pPr>
            <a:r>
              <a:rPr lang="da-DK" dirty="0"/>
              <a:t>Nye statiske belastningsforsøg</a:t>
            </a:r>
          </a:p>
          <a:p>
            <a:pPr marL="733425" lvl="0">
              <a:lnSpc>
                <a:spcPct val="107000"/>
              </a:lnSpc>
              <a:buFontTx/>
              <a:buChar char="-"/>
              <a:tabLst>
                <a:tab pos="447675" algn="l"/>
              </a:tabLst>
            </a:pPr>
            <a:r>
              <a:rPr lang="da-DK" dirty="0"/>
              <a:t>Op mod dobbelt så mange trækpæle </a:t>
            </a:r>
          </a:p>
          <a:p>
            <a:pPr marL="0" lvl="0" indent="0">
              <a:lnSpc>
                <a:spcPct val="107000"/>
              </a:lnSpc>
              <a:buNone/>
            </a:pPr>
            <a:r>
              <a:rPr lang="da-DK" sz="2000" dirty="0"/>
              <a:t>4)    Ankre: </a:t>
            </a:r>
            <a:r>
              <a:rPr lang="da-DK" sz="2000" dirty="0">
                <a:solidFill>
                  <a:srgbClr val="0070C0"/>
                </a:solidFill>
              </a:rPr>
              <a:t>Dyrest, lille risiko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587DAD8-CAB8-48A7-B201-66622ECFBBCF}"/>
              </a:ext>
            </a:extLst>
          </p:cNvPr>
          <p:cNvSpPr txBox="1">
            <a:spLocks/>
          </p:cNvSpPr>
          <p:nvPr/>
        </p:nvSpPr>
        <p:spPr>
          <a:xfrm>
            <a:off x="449911" y="3047805"/>
            <a:ext cx="5461000" cy="3121025"/>
          </a:xfrm>
          <a:prstGeom prst="rect">
            <a:avLst/>
          </a:prstGeom>
        </p:spPr>
        <p:txBody>
          <a:bodyPr vert="horz" lIns="72000" tIns="36000" rIns="72000" bIns="36000" rtlCol="0">
            <a:normAutofit/>
          </a:bodyPr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880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320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da-DK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45FA9F2-A28E-41FB-9686-9FE9C8ACA7E4}"/>
              </a:ext>
            </a:extLst>
          </p:cNvPr>
          <p:cNvSpPr txBox="1"/>
          <p:nvPr/>
        </p:nvSpPr>
        <p:spPr>
          <a:xfrm>
            <a:off x="8699236" y="1579637"/>
            <a:ext cx="331997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14408730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23">
            <a:extLst>
              <a:ext uri="{FF2B5EF4-FFF2-40B4-BE49-F238E27FC236}">
                <a16:creationId xmlns:a16="http://schemas.microsoft.com/office/drawing/2014/main" id="{31634825-C78B-4158-8B7C-97BA5FB39B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399" y="360000"/>
            <a:ext cx="11659812" cy="619713"/>
          </a:xfrm>
        </p:spPr>
        <p:txBody>
          <a:bodyPr anchor="t">
            <a:noAutofit/>
          </a:bodyPr>
          <a:lstStyle/>
          <a:p>
            <a:r>
              <a:rPr lang="en-US" sz="3700" b="1" dirty="0" err="1"/>
              <a:t>Optagelse</a:t>
            </a:r>
            <a:r>
              <a:rPr lang="en-US" sz="3700" b="1" dirty="0"/>
              <a:t> af </a:t>
            </a:r>
            <a:r>
              <a:rPr lang="en-US" sz="3700" b="1" dirty="0" err="1"/>
              <a:t>træk</a:t>
            </a:r>
            <a:endParaRPr lang="en-US" sz="3700" b="1" dirty="0"/>
          </a:p>
        </p:txBody>
      </p:sp>
      <p:sp>
        <p:nvSpPr>
          <p:cNvPr id="31" name="Slide Number Placeholder 3">
            <a:extLst>
              <a:ext uri="{FF2B5EF4-FFF2-40B4-BE49-F238E27FC236}">
                <a16:creationId xmlns:a16="http://schemas.microsoft.com/office/drawing/2014/main" id="{EBAB7D44-3C05-A937-A2FF-C477ABDEF6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9600" y="6375818"/>
            <a:ext cx="511868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fld id="{24C8C45C-947F-4981-8B3F-4F32E973C901}" type="slidenum">
              <a:rPr lang="en-GB" smtClean="0"/>
              <a:pPr>
                <a:spcAft>
                  <a:spcPts val="600"/>
                </a:spcAft>
              </a:pPr>
              <a:t>14</a:t>
            </a:fld>
            <a:endParaRPr lang="en-GB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26CD05F-FB19-4499-B143-655B84CA5FD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59398" y="1299529"/>
            <a:ext cx="10296161" cy="2470038"/>
          </a:xfrm>
        </p:spPr>
        <p:txBody>
          <a:bodyPr>
            <a:noAutofit/>
          </a:bodyPr>
          <a:lstStyle/>
          <a:p>
            <a:pPr marL="457200" lvl="0" indent="-457200">
              <a:lnSpc>
                <a:spcPct val="107000"/>
              </a:lnSpc>
              <a:buAutoNum type="arabicParenR"/>
            </a:pPr>
            <a:r>
              <a:rPr lang="da-DK" sz="2000" dirty="0"/>
              <a:t>Satse på at betonpæle kunne komme ned ved alm. ramning: </a:t>
            </a:r>
            <a:r>
              <a:rPr lang="da-DK" sz="2000" dirty="0">
                <a:solidFill>
                  <a:srgbClr val="0070C0"/>
                </a:solidFill>
              </a:rPr>
              <a:t>Billigst, stor risiko</a:t>
            </a:r>
          </a:p>
          <a:p>
            <a:pPr marL="457200" lvl="0" indent="-457200">
              <a:lnSpc>
                <a:spcPct val="107000"/>
              </a:lnSpc>
              <a:buAutoNum type="arabicParenR"/>
            </a:pPr>
            <a:r>
              <a:rPr lang="da-DK" sz="2000" dirty="0"/>
              <a:t>Forboring for pæle: </a:t>
            </a:r>
            <a:r>
              <a:rPr lang="da-DK" sz="2000" dirty="0">
                <a:solidFill>
                  <a:srgbClr val="0070C0"/>
                </a:solidFill>
              </a:rPr>
              <a:t>Dyrere og ret tidskrævende, mindre (men stadig betydelig) risiko</a:t>
            </a:r>
          </a:p>
          <a:p>
            <a:pPr marL="457200" lvl="0" indent="-457200">
              <a:lnSpc>
                <a:spcPct val="107000"/>
              </a:lnSpc>
              <a:buAutoNum type="arabicParenR"/>
            </a:pPr>
            <a:r>
              <a:rPr lang="da-DK" sz="2000" dirty="0"/>
              <a:t>Stålpæle (HE300B): </a:t>
            </a:r>
            <a:r>
              <a:rPr lang="da-DK" sz="2000" dirty="0">
                <a:solidFill>
                  <a:srgbClr val="0070C0"/>
                </a:solidFill>
              </a:rPr>
              <a:t>Endnu dyrere, noget mindre risiko</a:t>
            </a:r>
          </a:p>
          <a:p>
            <a:pPr marL="733425" lvl="0">
              <a:lnSpc>
                <a:spcPct val="107000"/>
              </a:lnSpc>
              <a:buFontTx/>
              <a:buChar char="-"/>
              <a:tabLst>
                <a:tab pos="447675" algn="l"/>
              </a:tabLst>
            </a:pPr>
            <a:r>
              <a:rPr lang="da-DK" dirty="0"/>
              <a:t>Nye statiske belastningsforsøg</a:t>
            </a:r>
          </a:p>
          <a:p>
            <a:pPr marL="733425" lvl="0">
              <a:lnSpc>
                <a:spcPct val="107000"/>
              </a:lnSpc>
              <a:buFontTx/>
              <a:buChar char="-"/>
              <a:tabLst>
                <a:tab pos="447675" algn="l"/>
              </a:tabLst>
            </a:pPr>
            <a:r>
              <a:rPr lang="da-DK" dirty="0"/>
              <a:t>Op mod dobbelt så mange trækpæle </a:t>
            </a:r>
          </a:p>
          <a:p>
            <a:pPr marL="0" lvl="0" indent="0">
              <a:lnSpc>
                <a:spcPct val="107000"/>
              </a:lnSpc>
              <a:buNone/>
            </a:pPr>
            <a:r>
              <a:rPr lang="da-DK" sz="2000" dirty="0"/>
              <a:t>4)    Ankre: </a:t>
            </a:r>
            <a:r>
              <a:rPr lang="da-DK" sz="2000" dirty="0">
                <a:solidFill>
                  <a:srgbClr val="0070C0"/>
                </a:solidFill>
              </a:rPr>
              <a:t>Dyrest, lille risiko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587DAD8-CAB8-48A7-B201-66622ECFBBCF}"/>
              </a:ext>
            </a:extLst>
          </p:cNvPr>
          <p:cNvSpPr txBox="1">
            <a:spLocks/>
          </p:cNvSpPr>
          <p:nvPr/>
        </p:nvSpPr>
        <p:spPr>
          <a:xfrm>
            <a:off x="449911" y="3047805"/>
            <a:ext cx="5461000" cy="3121025"/>
          </a:xfrm>
          <a:prstGeom prst="rect">
            <a:avLst/>
          </a:prstGeom>
        </p:spPr>
        <p:txBody>
          <a:bodyPr vert="horz" lIns="72000" tIns="36000" rIns="72000" bIns="36000" rtlCol="0">
            <a:normAutofit/>
          </a:bodyPr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880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320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da-DK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45FA9F2-A28E-41FB-9686-9FE9C8ACA7E4}"/>
              </a:ext>
            </a:extLst>
          </p:cNvPr>
          <p:cNvSpPr txBox="1"/>
          <p:nvPr/>
        </p:nvSpPr>
        <p:spPr>
          <a:xfrm>
            <a:off x="8699236" y="1579637"/>
            <a:ext cx="331997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US" sz="160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26A4F66-3244-4700-8556-B6FD8A8AA390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1307724" y="3893154"/>
            <a:ext cx="3985636" cy="2680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572074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23">
            <a:extLst>
              <a:ext uri="{FF2B5EF4-FFF2-40B4-BE49-F238E27FC236}">
                <a16:creationId xmlns:a16="http://schemas.microsoft.com/office/drawing/2014/main" id="{31634825-C78B-4158-8B7C-97BA5FB39B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399" y="360000"/>
            <a:ext cx="11659812" cy="619713"/>
          </a:xfrm>
        </p:spPr>
        <p:txBody>
          <a:bodyPr anchor="t">
            <a:noAutofit/>
          </a:bodyPr>
          <a:lstStyle/>
          <a:p>
            <a:r>
              <a:rPr lang="en-US" sz="3700" b="1" dirty="0" err="1"/>
              <a:t>Optagelse</a:t>
            </a:r>
            <a:r>
              <a:rPr lang="en-US" sz="3700" b="1" dirty="0"/>
              <a:t> af </a:t>
            </a:r>
            <a:r>
              <a:rPr lang="en-US" sz="3700" b="1" dirty="0" err="1"/>
              <a:t>træk</a:t>
            </a:r>
            <a:endParaRPr lang="en-US" sz="3700" b="1" dirty="0"/>
          </a:p>
        </p:txBody>
      </p:sp>
      <p:sp>
        <p:nvSpPr>
          <p:cNvPr id="31" name="Slide Number Placeholder 3">
            <a:extLst>
              <a:ext uri="{FF2B5EF4-FFF2-40B4-BE49-F238E27FC236}">
                <a16:creationId xmlns:a16="http://schemas.microsoft.com/office/drawing/2014/main" id="{EBAB7D44-3C05-A937-A2FF-C477ABDEF6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9600" y="6375818"/>
            <a:ext cx="511868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fld id="{24C8C45C-947F-4981-8B3F-4F32E973C901}" type="slidenum">
              <a:rPr lang="en-GB" smtClean="0"/>
              <a:pPr>
                <a:spcAft>
                  <a:spcPts val="600"/>
                </a:spcAft>
              </a:pPr>
              <a:t>15</a:t>
            </a:fld>
            <a:endParaRPr lang="en-GB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26CD05F-FB19-4499-B143-655B84CA5FD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59398" y="1299529"/>
            <a:ext cx="10296161" cy="2470038"/>
          </a:xfrm>
        </p:spPr>
        <p:txBody>
          <a:bodyPr>
            <a:noAutofit/>
          </a:bodyPr>
          <a:lstStyle/>
          <a:p>
            <a:pPr marL="457200" lvl="0" indent="-457200">
              <a:lnSpc>
                <a:spcPct val="107000"/>
              </a:lnSpc>
              <a:buAutoNum type="arabicParenR"/>
            </a:pPr>
            <a:r>
              <a:rPr lang="da-DK" sz="2000" dirty="0"/>
              <a:t>Satse på at betonpæle kunne komme ned ved alm. ramning: </a:t>
            </a:r>
            <a:r>
              <a:rPr lang="da-DK" sz="2000" dirty="0">
                <a:solidFill>
                  <a:srgbClr val="0070C0"/>
                </a:solidFill>
              </a:rPr>
              <a:t>Billigst, stor risiko</a:t>
            </a:r>
          </a:p>
          <a:p>
            <a:pPr marL="457200" lvl="0" indent="-457200">
              <a:lnSpc>
                <a:spcPct val="107000"/>
              </a:lnSpc>
              <a:buAutoNum type="arabicParenR"/>
            </a:pPr>
            <a:r>
              <a:rPr lang="da-DK" sz="2000" dirty="0"/>
              <a:t>Forboring for pæle: </a:t>
            </a:r>
            <a:r>
              <a:rPr lang="da-DK" sz="2000" dirty="0">
                <a:solidFill>
                  <a:srgbClr val="0070C0"/>
                </a:solidFill>
              </a:rPr>
              <a:t>Dyrere og ret tidskrævende, mindre (men stadig betydelig) risiko</a:t>
            </a:r>
          </a:p>
          <a:p>
            <a:pPr marL="457200" lvl="0" indent="-457200">
              <a:lnSpc>
                <a:spcPct val="107000"/>
              </a:lnSpc>
              <a:buAutoNum type="arabicParenR"/>
            </a:pPr>
            <a:r>
              <a:rPr lang="da-DK" sz="2000" dirty="0"/>
              <a:t>Stålpæle (HE300B): </a:t>
            </a:r>
            <a:r>
              <a:rPr lang="da-DK" sz="2000" dirty="0">
                <a:solidFill>
                  <a:srgbClr val="0070C0"/>
                </a:solidFill>
              </a:rPr>
              <a:t>Endnu dyrere, noget mindre risiko</a:t>
            </a:r>
          </a:p>
          <a:p>
            <a:pPr marL="733425" lvl="0">
              <a:lnSpc>
                <a:spcPct val="107000"/>
              </a:lnSpc>
              <a:buFontTx/>
              <a:buChar char="-"/>
              <a:tabLst>
                <a:tab pos="447675" algn="l"/>
              </a:tabLst>
            </a:pPr>
            <a:r>
              <a:rPr lang="da-DK" dirty="0"/>
              <a:t>Nye statiske belastningsforsøg</a:t>
            </a:r>
          </a:p>
          <a:p>
            <a:pPr marL="733425" lvl="0">
              <a:lnSpc>
                <a:spcPct val="107000"/>
              </a:lnSpc>
              <a:buFontTx/>
              <a:buChar char="-"/>
              <a:tabLst>
                <a:tab pos="447675" algn="l"/>
              </a:tabLst>
            </a:pPr>
            <a:r>
              <a:rPr lang="da-DK" dirty="0"/>
              <a:t>Op mod dobbelt så mange trækpæle </a:t>
            </a:r>
          </a:p>
          <a:p>
            <a:pPr marL="0" lvl="0" indent="0">
              <a:lnSpc>
                <a:spcPct val="107000"/>
              </a:lnSpc>
              <a:buNone/>
            </a:pPr>
            <a:r>
              <a:rPr lang="da-DK" sz="2000" dirty="0"/>
              <a:t>4)    Ankre: </a:t>
            </a:r>
            <a:r>
              <a:rPr lang="da-DK" sz="2000" dirty="0">
                <a:solidFill>
                  <a:srgbClr val="0070C0"/>
                </a:solidFill>
              </a:rPr>
              <a:t>Dyrest, lille risiko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587DAD8-CAB8-48A7-B201-66622ECFBBCF}"/>
              </a:ext>
            </a:extLst>
          </p:cNvPr>
          <p:cNvSpPr txBox="1">
            <a:spLocks/>
          </p:cNvSpPr>
          <p:nvPr/>
        </p:nvSpPr>
        <p:spPr>
          <a:xfrm>
            <a:off x="449911" y="3047805"/>
            <a:ext cx="5461000" cy="3121025"/>
          </a:xfrm>
          <a:prstGeom prst="rect">
            <a:avLst/>
          </a:prstGeom>
        </p:spPr>
        <p:txBody>
          <a:bodyPr vert="horz" lIns="72000" tIns="36000" rIns="72000" bIns="36000" rtlCol="0">
            <a:normAutofit/>
          </a:bodyPr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880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320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da-DK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45FA9F2-A28E-41FB-9686-9FE9C8ACA7E4}"/>
              </a:ext>
            </a:extLst>
          </p:cNvPr>
          <p:cNvSpPr txBox="1"/>
          <p:nvPr/>
        </p:nvSpPr>
        <p:spPr>
          <a:xfrm>
            <a:off x="8699236" y="1579637"/>
            <a:ext cx="331997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US" sz="160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26A4F66-3244-4700-8556-B6FD8A8AA390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1307724" y="3893154"/>
            <a:ext cx="3985636" cy="268036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FC1D3DF-9D6E-4FBB-BB36-CDFBDC376D25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5770622" y="2997212"/>
            <a:ext cx="4884938" cy="2561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08221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23">
            <a:extLst>
              <a:ext uri="{FF2B5EF4-FFF2-40B4-BE49-F238E27FC236}">
                <a16:creationId xmlns:a16="http://schemas.microsoft.com/office/drawing/2014/main" id="{31634825-C78B-4158-8B7C-97BA5FB39B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400" y="360000"/>
            <a:ext cx="11473200" cy="619713"/>
          </a:xfrm>
        </p:spPr>
        <p:txBody>
          <a:bodyPr anchor="t">
            <a:normAutofit/>
          </a:bodyPr>
          <a:lstStyle/>
          <a:p>
            <a:r>
              <a:rPr lang="en-US" sz="3700" b="1" dirty="0" err="1"/>
              <a:t>Overordnede</a:t>
            </a:r>
            <a:r>
              <a:rPr lang="en-US" sz="3700" b="1" dirty="0"/>
              <a:t> </a:t>
            </a:r>
            <a:r>
              <a:rPr lang="en-US" sz="3700" b="1" dirty="0" err="1"/>
              <a:t>problemstillinger</a:t>
            </a:r>
            <a:endParaRPr lang="en-US" sz="3700" b="1" dirty="0"/>
          </a:p>
        </p:txBody>
      </p:sp>
      <p:sp>
        <p:nvSpPr>
          <p:cNvPr id="31" name="Slide Number Placeholder 3">
            <a:extLst>
              <a:ext uri="{FF2B5EF4-FFF2-40B4-BE49-F238E27FC236}">
                <a16:creationId xmlns:a16="http://schemas.microsoft.com/office/drawing/2014/main" id="{EBAB7D44-3C05-A937-A2FF-C477ABDEF6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9600" y="6375818"/>
            <a:ext cx="511868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fld id="{24C8C45C-947F-4981-8B3F-4F32E973C901}" type="slidenum">
              <a:rPr lang="en-GB" smtClean="0"/>
              <a:pPr>
                <a:spcAft>
                  <a:spcPts val="600"/>
                </a:spcAft>
              </a:pPr>
              <a:t>16</a:t>
            </a:fld>
            <a:endParaRPr lang="en-GB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587DAD8-CAB8-48A7-B201-66622ECFBBCF}"/>
              </a:ext>
            </a:extLst>
          </p:cNvPr>
          <p:cNvSpPr txBox="1">
            <a:spLocks/>
          </p:cNvSpPr>
          <p:nvPr/>
        </p:nvSpPr>
        <p:spPr>
          <a:xfrm>
            <a:off x="449911" y="3047805"/>
            <a:ext cx="5461000" cy="3121025"/>
          </a:xfrm>
          <a:prstGeom prst="rect">
            <a:avLst/>
          </a:prstGeom>
        </p:spPr>
        <p:txBody>
          <a:bodyPr vert="horz" lIns="72000" tIns="36000" rIns="72000" bIns="36000" rtlCol="0">
            <a:normAutofit/>
          </a:bodyPr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880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320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da-DK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45FA9F2-A28E-41FB-9686-9FE9C8ACA7E4}"/>
              </a:ext>
            </a:extLst>
          </p:cNvPr>
          <p:cNvSpPr txBox="1"/>
          <p:nvPr/>
        </p:nvSpPr>
        <p:spPr>
          <a:xfrm>
            <a:off x="8699236" y="1640396"/>
            <a:ext cx="331997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US" sz="16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F07828C-E04E-4EAF-A8CB-DF80BEA9C394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73881" y="1280011"/>
            <a:ext cx="11790125" cy="4888819"/>
          </a:xfrm>
        </p:spPr>
        <p:txBody>
          <a:bodyPr>
            <a:noAutofit/>
          </a:bodyPr>
          <a:lstStyle/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dledende: Stor opdrift fra vandtryk =&gt; ret mange trækpæle =&gt; eftervisning af gruppevirkning</a:t>
            </a: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ange pæle kunne ikke rammes ned ved prøveramning  =&gt;  udfordringer med trækkapacitet</a:t>
            </a: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nkre &gt;&lt; stålpæle – eller satse på, at betonpæle kunne rammes ned (risikoanalyse)?</a:t>
            </a: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solidFill>
                  <a:srgbClr val="FF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ftervisning af trykkapacitet: Meget varierende jordbundsforhold =&gt; nødvendigt med stort omfang af PDA-målinger. </a:t>
            </a: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Korrigering af bæreevne for ekstra overlejring pga. højere rammeplanum og grundvandssænkning.</a:t>
            </a:r>
            <a:endParaRPr lang="da-DK" sz="17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ange knækkede pæle</a:t>
            </a:r>
            <a:r>
              <a:rPr lang="da-DK" sz="17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</a:t>
            </a: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For hurtig levering? For lidt længdearmering? </a:t>
            </a:r>
            <a:endParaRPr lang="da-DK" sz="17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everanceproblemer: Min. 3 ugers leveringstid =&gt; Ikke muligt med forsøg med større pæle eller pæle med mere længdearmering.</a:t>
            </a:r>
            <a:endParaRPr lang="da-DK" sz="17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tablering af jordankre: Sikring mod opadrettede grundvandsstrømninger fra vandmagasiner i kalken.</a:t>
            </a:r>
            <a:endParaRPr lang="da-DK" sz="17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spcAft>
                <a:spcPts val="400"/>
              </a:spcAft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pdriftsankre tæt på pæle: Skulle pæle eller ankre udføres først for ikke at skade hinanden/få indflydelse på bæreevnen?             </a:t>
            </a:r>
            <a:r>
              <a:rPr lang="da-DK" sz="1700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H</a:t>
            </a: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vor langt skulle pælene stå fra ankrene for at risikoen for skader var acceptable?</a:t>
            </a:r>
            <a:endParaRPr lang="da-DK" sz="17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spcAft>
                <a:spcPts val="400"/>
              </a:spcAft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st af jordankre: Begrænsninger i bundpladens kapacitet =&gt; Der skulle anvendes åg for test af ankre.</a:t>
            </a:r>
            <a:endParaRPr lang="da-DK" sz="17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vornår kunne grundvandssænkningen slukkes for ikke at få opdriftsproblemer under udførelsen?</a:t>
            </a: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spcAft>
                <a:spcPts val="400"/>
              </a:spcAft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Generelt: Ingen 100% sikre løsninger =&gt; Inddragelse af bygherre i valg på baggrund af opstilling af risikobillede.</a:t>
            </a:r>
            <a:endParaRPr lang="da-DK" sz="17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spcAft>
                <a:spcPts val="800"/>
              </a:spcAft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tram tidsplan =&gt; træffe hurtige beslutninger om valg af løsninger.</a:t>
            </a:r>
            <a:endParaRPr lang="da-DK" sz="17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010391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23">
            <a:extLst>
              <a:ext uri="{FF2B5EF4-FFF2-40B4-BE49-F238E27FC236}">
                <a16:creationId xmlns:a16="http://schemas.microsoft.com/office/drawing/2014/main" id="{31634825-C78B-4158-8B7C-97BA5FB39B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399" y="360000"/>
            <a:ext cx="11659812" cy="619713"/>
          </a:xfrm>
        </p:spPr>
        <p:txBody>
          <a:bodyPr anchor="t">
            <a:noAutofit/>
          </a:bodyPr>
          <a:lstStyle/>
          <a:p>
            <a:r>
              <a:rPr lang="en-US" sz="3700" b="1" dirty="0" err="1"/>
              <a:t>Eftervisning</a:t>
            </a:r>
            <a:r>
              <a:rPr lang="en-US" sz="3700" b="1" dirty="0"/>
              <a:t> af </a:t>
            </a:r>
            <a:r>
              <a:rPr lang="en-US" sz="3700" b="1" dirty="0" err="1"/>
              <a:t>trykkapacitet</a:t>
            </a:r>
            <a:endParaRPr lang="en-US" sz="3700" b="1" dirty="0"/>
          </a:p>
        </p:txBody>
      </p:sp>
      <p:sp>
        <p:nvSpPr>
          <p:cNvPr id="31" name="Slide Number Placeholder 3">
            <a:extLst>
              <a:ext uri="{FF2B5EF4-FFF2-40B4-BE49-F238E27FC236}">
                <a16:creationId xmlns:a16="http://schemas.microsoft.com/office/drawing/2014/main" id="{EBAB7D44-3C05-A937-A2FF-C477ABDEF6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9600" y="6375818"/>
            <a:ext cx="511868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fld id="{24C8C45C-947F-4981-8B3F-4F32E973C901}" type="slidenum">
              <a:rPr lang="en-GB" smtClean="0"/>
              <a:pPr>
                <a:spcAft>
                  <a:spcPts val="600"/>
                </a:spcAft>
              </a:pPr>
              <a:t>17</a:t>
            </a:fld>
            <a:endParaRPr lang="en-GB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26CD05F-FB19-4499-B143-655B84CA5FD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59399" y="1299528"/>
            <a:ext cx="10865328" cy="1322373"/>
          </a:xfrm>
        </p:spPr>
        <p:txBody>
          <a:bodyPr>
            <a:noAutofit/>
          </a:bodyPr>
          <a:lstStyle/>
          <a:p>
            <a:r>
              <a:rPr lang="da-DK" sz="2000" dirty="0"/>
              <a:t>Vurdering af bæreevne ud fra PDA-målinger</a:t>
            </a:r>
          </a:p>
          <a:p>
            <a:r>
              <a:rPr lang="da-DK" sz="2000" dirty="0"/>
              <a:t>Håndtering af pæle, der ikke kan rammes ned?</a:t>
            </a:r>
          </a:p>
          <a:p>
            <a:r>
              <a:rPr lang="da-DK" sz="2000" dirty="0">
                <a:solidFill>
                  <a:schemeClr val="bg1">
                    <a:lumMod val="65000"/>
                  </a:schemeClr>
                </a:solidFill>
              </a:rPr>
              <a:t>Meget varierende jordbundsforhold =&gt; nødvendigt med stort omfang af PDA-målinger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587DAD8-CAB8-48A7-B201-66622ECFBBCF}"/>
              </a:ext>
            </a:extLst>
          </p:cNvPr>
          <p:cNvSpPr txBox="1">
            <a:spLocks/>
          </p:cNvSpPr>
          <p:nvPr/>
        </p:nvSpPr>
        <p:spPr>
          <a:xfrm>
            <a:off x="449911" y="3047805"/>
            <a:ext cx="5461000" cy="3121025"/>
          </a:xfrm>
          <a:prstGeom prst="rect">
            <a:avLst/>
          </a:prstGeom>
        </p:spPr>
        <p:txBody>
          <a:bodyPr vert="horz" lIns="72000" tIns="36000" rIns="72000" bIns="36000" rtlCol="0">
            <a:normAutofit/>
          </a:bodyPr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880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320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da-DK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45FA9F2-A28E-41FB-9686-9FE9C8ACA7E4}"/>
              </a:ext>
            </a:extLst>
          </p:cNvPr>
          <p:cNvSpPr txBox="1"/>
          <p:nvPr/>
        </p:nvSpPr>
        <p:spPr>
          <a:xfrm>
            <a:off x="8699236" y="1579637"/>
            <a:ext cx="331997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US" sz="160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354F135-6F5E-4DAA-93B6-98CE6B105CC2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641468" y="2500334"/>
            <a:ext cx="4359740" cy="3875483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4E8BF8E-8C45-48FE-BBE9-60698EFAFBB7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5579706" y="2518115"/>
            <a:ext cx="4359740" cy="38577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698983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23">
            <a:extLst>
              <a:ext uri="{FF2B5EF4-FFF2-40B4-BE49-F238E27FC236}">
                <a16:creationId xmlns:a16="http://schemas.microsoft.com/office/drawing/2014/main" id="{31634825-C78B-4158-8B7C-97BA5FB39B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399" y="360000"/>
            <a:ext cx="11659812" cy="619713"/>
          </a:xfrm>
        </p:spPr>
        <p:txBody>
          <a:bodyPr anchor="t">
            <a:noAutofit/>
          </a:bodyPr>
          <a:lstStyle/>
          <a:p>
            <a:r>
              <a:rPr lang="en-US" sz="3700" b="1" dirty="0" err="1"/>
              <a:t>Eftervisning</a:t>
            </a:r>
            <a:r>
              <a:rPr lang="en-US" sz="3700" b="1" dirty="0"/>
              <a:t> af </a:t>
            </a:r>
            <a:r>
              <a:rPr lang="en-US" sz="3700" b="1" dirty="0" err="1"/>
              <a:t>trykkapacitet</a:t>
            </a:r>
            <a:endParaRPr lang="en-US" sz="3700" b="1" dirty="0"/>
          </a:p>
        </p:txBody>
      </p:sp>
      <p:sp>
        <p:nvSpPr>
          <p:cNvPr id="31" name="Slide Number Placeholder 3">
            <a:extLst>
              <a:ext uri="{FF2B5EF4-FFF2-40B4-BE49-F238E27FC236}">
                <a16:creationId xmlns:a16="http://schemas.microsoft.com/office/drawing/2014/main" id="{EBAB7D44-3C05-A937-A2FF-C477ABDEF6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9600" y="6375818"/>
            <a:ext cx="511868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fld id="{24C8C45C-947F-4981-8B3F-4F32E973C901}" type="slidenum">
              <a:rPr lang="en-GB" smtClean="0"/>
              <a:pPr>
                <a:spcAft>
                  <a:spcPts val="600"/>
                </a:spcAft>
              </a:pPr>
              <a:t>18</a:t>
            </a:fld>
            <a:endParaRPr lang="en-GB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26CD05F-FB19-4499-B143-655B84CA5FD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59399" y="1299528"/>
            <a:ext cx="10865328" cy="1322373"/>
          </a:xfrm>
        </p:spPr>
        <p:txBody>
          <a:bodyPr>
            <a:noAutofit/>
          </a:bodyPr>
          <a:lstStyle/>
          <a:p>
            <a:r>
              <a:rPr lang="da-DK" sz="2000" dirty="0">
                <a:solidFill>
                  <a:schemeClr val="bg1">
                    <a:lumMod val="65000"/>
                  </a:schemeClr>
                </a:solidFill>
              </a:rPr>
              <a:t>Vurdering af bæreevne ud fra PDA-målinger</a:t>
            </a:r>
          </a:p>
          <a:p>
            <a:r>
              <a:rPr lang="da-DK" sz="2000" dirty="0">
                <a:solidFill>
                  <a:schemeClr val="bg1">
                    <a:lumMod val="65000"/>
                  </a:schemeClr>
                </a:solidFill>
              </a:rPr>
              <a:t>Håndtering af pæle, der ikke kan rammes ned?</a:t>
            </a:r>
          </a:p>
          <a:p>
            <a:r>
              <a:rPr lang="da-DK" sz="2000" dirty="0"/>
              <a:t>Meget varierende jordbundsforhold =&gt; nødvendigt med stort omfang af PDA-målinger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45FA9F2-A28E-41FB-9686-9FE9C8ACA7E4}"/>
              </a:ext>
            </a:extLst>
          </p:cNvPr>
          <p:cNvSpPr txBox="1"/>
          <p:nvPr/>
        </p:nvSpPr>
        <p:spPr>
          <a:xfrm>
            <a:off x="8699236" y="1579637"/>
            <a:ext cx="331997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US" sz="1600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896E010-0AEF-45E8-89E3-7F1661A169B8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715722" y="2435557"/>
            <a:ext cx="6863638" cy="4198923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485C87C-A151-44D3-9724-4A1B9E01C477}"/>
              </a:ext>
            </a:extLst>
          </p:cNvPr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226" b="11826"/>
          <a:stretch/>
        </p:blipFill>
        <p:spPr bwMode="auto">
          <a:xfrm>
            <a:off x="7859712" y="2518114"/>
            <a:ext cx="3204528" cy="3770925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148381960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23">
            <a:extLst>
              <a:ext uri="{FF2B5EF4-FFF2-40B4-BE49-F238E27FC236}">
                <a16:creationId xmlns:a16="http://schemas.microsoft.com/office/drawing/2014/main" id="{31634825-C78B-4158-8B7C-97BA5FB39B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400" y="360000"/>
            <a:ext cx="11473200" cy="619713"/>
          </a:xfrm>
        </p:spPr>
        <p:txBody>
          <a:bodyPr anchor="t">
            <a:normAutofit/>
          </a:bodyPr>
          <a:lstStyle/>
          <a:p>
            <a:r>
              <a:rPr lang="en-US" sz="3700" b="1" dirty="0" err="1"/>
              <a:t>Overordnede</a:t>
            </a:r>
            <a:r>
              <a:rPr lang="en-US" sz="3700" b="1" dirty="0"/>
              <a:t> </a:t>
            </a:r>
            <a:r>
              <a:rPr lang="en-US" sz="3700" b="1" dirty="0" err="1"/>
              <a:t>problemstillinger</a:t>
            </a:r>
            <a:endParaRPr lang="en-US" sz="3700" b="1" dirty="0"/>
          </a:p>
        </p:txBody>
      </p:sp>
      <p:sp>
        <p:nvSpPr>
          <p:cNvPr id="31" name="Slide Number Placeholder 3">
            <a:extLst>
              <a:ext uri="{FF2B5EF4-FFF2-40B4-BE49-F238E27FC236}">
                <a16:creationId xmlns:a16="http://schemas.microsoft.com/office/drawing/2014/main" id="{EBAB7D44-3C05-A937-A2FF-C477ABDEF6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9600" y="6375818"/>
            <a:ext cx="511868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fld id="{24C8C45C-947F-4981-8B3F-4F32E973C901}" type="slidenum">
              <a:rPr lang="en-GB" smtClean="0"/>
              <a:pPr>
                <a:spcAft>
                  <a:spcPts val="600"/>
                </a:spcAft>
              </a:pPr>
              <a:t>19</a:t>
            </a:fld>
            <a:endParaRPr lang="en-GB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587DAD8-CAB8-48A7-B201-66622ECFBBCF}"/>
              </a:ext>
            </a:extLst>
          </p:cNvPr>
          <p:cNvSpPr txBox="1">
            <a:spLocks/>
          </p:cNvSpPr>
          <p:nvPr/>
        </p:nvSpPr>
        <p:spPr>
          <a:xfrm>
            <a:off x="449911" y="3047805"/>
            <a:ext cx="5461000" cy="3121025"/>
          </a:xfrm>
          <a:prstGeom prst="rect">
            <a:avLst/>
          </a:prstGeom>
        </p:spPr>
        <p:txBody>
          <a:bodyPr vert="horz" lIns="72000" tIns="36000" rIns="72000" bIns="36000" rtlCol="0">
            <a:normAutofit/>
          </a:bodyPr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880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320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da-DK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45FA9F2-A28E-41FB-9686-9FE9C8ACA7E4}"/>
              </a:ext>
            </a:extLst>
          </p:cNvPr>
          <p:cNvSpPr txBox="1"/>
          <p:nvPr/>
        </p:nvSpPr>
        <p:spPr>
          <a:xfrm>
            <a:off x="8699236" y="1640396"/>
            <a:ext cx="331997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US" sz="16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F07828C-E04E-4EAF-A8CB-DF80BEA9C394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73881" y="1280011"/>
            <a:ext cx="11790125" cy="4888819"/>
          </a:xfrm>
        </p:spPr>
        <p:txBody>
          <a:bodyPr>
            <a:noAutofit/>
          </a:bodyPr>
          <a:lstStyle/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dledende: Stor opdrift fra vandtryk =&gt; ret mange trækpæle =&gt; eftervisning af gruppevirkning</a:t>
            </a: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ange pæle kunne ikke rammes ned ved prøveramning  =&gt;  udfordringer med trækkapacitet</a:t>
            </a: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nkre &gt;&lt; stålpæle – eller satse på, at betonpæle kunne rammes ned (risikoanalyse)?</a:t>
            </a: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ftervisning af trykkapacitet: Meget varierende jordbundsforhold =&gt; nødvendigt med stort omfang af PDA-målinger. </a:t>
            </a: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solidFill>
                  <a:srgbClr val="FF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Korrigering af bæreevne for ekstra overlejring pga. højere rammeplanum og grundvandssænkning.</a:t>
            </a:r>
            <a:endParaRPr lang="da-DK" sz="1700" dirty="0">
              <a:solidFill>
                <a:srgbClr val="FF0000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ange knækkede pæle</a:t>
            </a:r>
            <a:r>
              <a:rPr lang="da-DK" sz="17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</a:t>
            </a: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For hurtig levering? For lidt længdearmering? </a:t>
            </a:r>
            <a:endParaRPr lang="da-DK" sz="17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everanceproblemer: Min. 3 ugers leveringstid =&gt; Ikke muligt med forsøg med større pæle eller pæle med mere længdearmering.</a:t>
            </a:r>
            <a:endParaRPr lang="da-DK" sz="17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tablering af jordankre: Sikring mod opadrettede grundvandsstrømninger fra vandmagasiner i kalken.</a:t>
            </a:r>
            <a:endParaRPr lang="da-DK" sz="17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spcAft>
                <a:spcPts val="400"/>
              </a:spcAft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pdriftsankre tæt på pæle: Skulle pæle eller ankre udføres først for ikke at skade hinanden/få indflydelse på bæreevnen?             </a:t>
            </a:r>
            <a:r>
              <a:rPr lang="da-DK" sz="1700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H</a:t>
            </a: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vor langt skulle pælene stå fra ankrene for at risikoen for skader var acceptable?</a:t>
            </a:r>
            <a:endParaRPr lang="da-DK" sz="17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spcAft>
                <a:spcPts val="400"/>
              </a:spcAft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st af jordankre: Begrænsninger i bundpladens kapacitet =&gt; Der skulle anvendes åg for test af ankre.</a:t>
            </a:r>
            <a:endParaRPr lang="da-DK" sz="17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vornår kunne grundvandssænkningen slukkes for ikke at få opdriftsproblemer under udførelsen?</a:t>
            </a: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spcAft>
                <a:spcPts val="400"/>
              </a:spcAft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Generelt: Ingen 100% sikre løsninger =&gt; Inddragelse af bygherre i valg på baggrund af opstilling af risikobillede.</a:t>
            </a:r>
            <a:endParaRPr lang="da-DK" sz="17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spcAft>
                <a:spcPts val="800"/>
              </a:spcAft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tram tidsplan =&gt; træffe hurtige beslutninger om valg af løsninger.</a:t>
            </a:r>
            <a:endParaRPr lang="da-DK" sz="17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93353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23">
            <a:extLst>
              <a:ext uri="{FF2B5EF4-FFF2-40B4-BE49-F238E27FC236}">
                <a16:creationId xmlns:a16="http://schemas.microsoft.com/office/drawing/2014/main" id="{31634825-C78B-4158-8B7C-97BA5FB39B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400" y="360000"/>
            <a:ext cx="11473200" cy="619713"/>
          </a:xfrm>
        </p:spPr>
        <p:txBody>
          <a:bodyPr anchor="t">
            <a:normAutofit/>
          </a:bodyPr>
          <a:lstStyle/>
          <a:p>
            <a:r>
              <a:rPr lang="en-US" sz="3700" b="1" dirty="0" err="1"/>
              <a:t>Projektet</a:t>
            </a:r>
            <a:r>
              <a:rPr lang="en-US" sz="3700" b="1" dirty="0"/>
              <a:t> – </a:t>
            </a:r>
            <a:r>
              <a:rPr lang="en-US" sz="3700" b="1" dirty="0" err="1"/>
              <a:t>hvor</a:t>
            </a:r>
            <a:r>
              <a:rPr lang="en-US" sz="3700" b="1" dirty="0"/>
              <a:t> er vi</a:t>
            </a:r>
          </a:p>
        </p:txBody>
      </p:sp>
      <p:sp>
        <p:nvSpPr>
          <p:cNvPr id="29" name="Subtitle 2">
            <a:extLst>
              <a:ext uri="{FF2B5EF4-FFF2-40B4-BE49-F238E27FC236}">
                <a16:creationId xmlns:a16="http://schemas.microsoft.com/office/drawing/2014/main" id="{7510301A-121C-049F-409C-233E289CDF7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8150" y="1001374"/>
            <a:ext cx="11394450" cy="369332"/>
          </a:xfrm>
        </p:spPr>
        <p:txBody>
          <a:bodyPr/>
          <a:lstStyle/>
          <a:p>
            <a:r>
              <a:rPr lang="en-US" dirty="0">
                <a:latin typeface="+mn-lt"/>
              </a:rPr>
              <a:t>- </a:t>
            </a:r>
            <a:r>
              <a:rPr lang="en-US" dirty="0" err="1">
                <a:latin typeface="+mn-lt"/>
              </a:rPr>
              <a:t>København</a:t>
            </a:r>
            <a:r>
              <a:rPr lang="en-US" dirty="0">
                <a:latin typeface="+mn-lt"/>
              </a:rPr>
              <a:t>, </a:t>
            </a:r>
            <a:r>
              <a:rPr lang="en-US" dirty="0" err="1">
                <a:latin typeface="+mn-lt"/>
              </a:rPr>
              <a:t>Nordhavnen</a:t>
            </a:r>
            <a:r>
              <a:rPr lang="en-US" dirty="0">
                <a:latin typeface="+mn-lt"/>
              </a:rPr>
              <a:t>. Ved </a:t>
            </a:r>
            <a:r>
              <a:rPr lang="en-US" dirty="0" err="1">
                <a:latin typeface="+mn-lt"/>
              </a:rPr>
              <a:t>Orientkaj</a:t>
            </a:r>
            <a:r>
              <a:rPr lang="en-US" dirty="0">
                <a:latin typeface="+mn-lt"/>
              </a:rPr>
              <a:t> Station</a:t>
            </a:r>
          </a:p>
        </p:txBody>
      </p:sp>
      <p:sp>
        <p:nvSpPr>
          <p:cNvPr id="31" name="Slide Number Placeholder 3">
            <a:extLst>
              <a:ext uri="{FF2B5EF4-FFF2-40B4-BE49-F238E27FC236}">
                <a16:creationId xmlns:a16="http://schemas.microsoft.com/office/drawing/2014/main" id="{EBAB7D44-3C05-A937-A2FF-C477ABDEF6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9600" y="6375818"/>
            <a:ext cx="511868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fld id="{24C8C45C-947F-4981-8B3F-4F32E973C901}" type="slidenum">
              <a:rPr lang="en-GB" smtClean="0"/>
              <a:pPr>
                <a:spcAft>
                  <a:spcPts val="600"/>
                </a:spcAft>
              </a:pPr>
              <a:t>2</a:t>
            </a:fld>
            <a:endParaRPr lang="en-GB"/>
          </a:p>
        </p:txBody>
      </p:sp>
      <p:pic>
        <p:nvPicPr>
          <p:cNvPr id="3" name="Content Placeholder 2">
            <a:extLst>
              <a:ext uri="{FF2B5EF4-FFF2-40B4-BE49-F238E27FC236}">
                <a16:creationId xmlns:a16="http://schemas.microsoft.com/office/drawing/2014/main" id="{B03FC6BC-391B-4D4B-A84A-CC60FAF1A6C8}"/>
              </a:ext>
            </a:extLst>
          </p:cNvPr>
          <p:cNvPicPr>
            <a:picLocks noGrp="1" noChangeAspect="1"/>
          </p:cNvPicPr>
          <p:nvPr>
            <p:ph idx="13"/>
          </p:nvPr>
        </p:nvPicPr>
        <p:blipFill rotWithShape="1">
          <a:blip r:embed="rId2"/>
          <a:srcRect t="720" r="1" b="1"/>
          <a:stretch/>
        </p:blipFill>
        <p:spPr>
          <a:xfrm>
            <a:off x="439199" y="1511300"/>
            <a:ext cx="5372321" cy="4573598"/>
          </a:xfrm>
          <a:noFill/>
        </p:spPr>
      </p:pic>
      <p:pic>
        <p:nvPicPr>
          <p:cNvPr id="12" name="Content Placeholder 11">
            <a:extLst>
              <a:ext uri="{FF2B5EF4-FFF2-40B4-BE49-F238E27FC236}">
                <a16:creationId xmlns:a16="http://schemas.microsoft.com/office/drawing/2014/main" id="{45AF98B7-4A5C-439E-A714-B48B317D9ECB}"/>
              </a:ext>
            </a:extLst>
          </p:cNvPr>
          <p:cNvPicPr>
            <a:picLocks noGrp="1"/>
          </p:cNvPicPr>
          <p:nvPr>
            <p:ph sz="half" idx="2"/>
          </p:nvPr>
        </p:nvPicPr>
        <p:blipFill rotWithShape="1">
          <a:blip r:embed="rId3"/>
          <a:srcRect r="14543"/>
          <a:stretch/>
        </p:blipFill>
        <p:spPr bwMode="auto">
          <a:xfrm>
            <a:off x="6004878" y="1511300"/>
            <a:ext cx="5902642" cy="4573598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69817766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23">
            <a:extLst>
              <a:ext uri="{FF2B5EF4-FFF2-40B4-BE49-F238E27FC236}">
                <a16:creationId xmlns:a16="http://schemas.microsoft.com/office/drawing/2014/main" id="{31634825-C78B-4158-8B7C-97BA5FB39B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399" y="360000"/>
            <a:ext cx="11659812" cy="619713"/>
          </a:xfrm>
        </p:spPr>
        <p:txBody>
          <a:bodyPr anchor="t">
            <a:noAutofit/>
          </a:bodyPr>
          <a:lstStyle/>
          <a:p>
            <a:r>
              <a:rPr lang="en-US" sz="3700" b="1" dirty="0" err="1"/>
              <a:t>Håndtering</a:t>
            </a:r>
            <a:r>
              <a:rPr lang="en-US" sz="3700" b="1" dirty="0"/>
              <a:t> af </a:t>
            </a:r>
            <a:r>
              <a:rPr lang="en-US" sz="3700" b="1" dirty="0" err="1"/>
              <a:t>rammedata</a:t>
            </a:r>
            <a:endParaRPr lang="en-US" sz="3700" b="1" dirty="0"/>
          </a:p>
        </p:txBody>
      </p:sp>
      <p:sp>
        <p:nvSpPr>
          <p:cNvPr id="31" name="Slide Number Placeholder 3">
            <a:extLst>
              <a:ext uri="{FF2B5EF4-FFF2-40B4-BE49-F238E27FC236}">
                <a16:creationId xmlns:a16="http://schemas.microsoft.com/office/drawing/2014/main" id="{EBAB7D44-3C05-A937-A2FF-C477ABDEF6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9600" y="6375818"/>
            <a:ext cx="511868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fld id="{24C8C45C-947F-4981-8B3F-4F32E973C901}" type="slidenum">
              <a:rPr lang="en-GB" smtClean="0"/>
              <a:pPr>
                <a:spcAft>
                  <a:spcPts val="600"/>
                </a:spcAft>
              </a:pPr>
              <a:t>20</a:t>
            </a:fld>
            <a:endParaRPr lang="en-GB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26CD05F-FB19-4499-B143-655B84CA5FD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59398" y="1299528"/>
            <a:ext cx="11555794" cy="1221249"/>
          </a:xfrm>
        </p:spPr>
        <p:txBody>
          <a:bodyPr>
            <a:noAutofit/>
          </a:bodyPr>
          <a:lstStyle/>
          <a:p>
            <a:r>
              <a:rPr lang="da-DK" sz="2000" dirty="0"/>
              <a:t>Korrigering af bæreevne for ekstra overlejring pga. højere rammeplanum og grundvandssænkning</a:t>
            </a:r>
          </a:p>
          <a:p>
            <a:pPr marL="558800">
              <a:buFontTx/>
              <a:buChar char="-"/>
            </a:pPr>
            <a:r>
              <a:rPr lang="da-DK" dirty="0"/>
              <a:t> Mange forskellige bundkoter af fundamenter</a:t>
            </a:r>
          </a:p>
          <a:p>
            <a:pPr marL="615950" indent="-342900">
              <a:buFontTx/>
              <a:buChar char="-"/>
            </a:pPr>
            <a:r>
              <a:rPr lang="da-DK" dirty="0"/>
              <a:t>Checke pejlinger fra grundvandssænkning løbend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E931AC9-CF7E-4EA1-9E4B-435F66FD72B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9709" y="2520777"/>
            <a:ext cx="6607829" cy="125172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F241932-644A-43CE-961F-6165C7068CB5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641468" y="3871784"/>
            <a:ext cx="3172651" cy="268659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2D7326E-F8BB-4532-B71D-F5EB707ED24A}"/>
              </a:ext>
            </a:extLst>
          </p:cNvPr>
          <p:cNvPicPr/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6696"/>
          <a:stretch/>
        </p:blipFill>
        <p:spPr bwMode="auto">
          <a:xfrm>
            <a:off x="7456744" y="1983254"/>
            <a:ext cx="3969137" cy="3980935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0A93CD42-A9B8-4699-A9D2-82E894E4338F}"/>
              </a:ext>
            </a:extLst>
          </p:cNvPr>
          <p:cNvPicPr/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563" b="26338"/>
          <a:stretch/>
        </p:blipFill>
        <p:spPr bwMode="auto">
          <a:xfrm>
            <a:off x="4095621" y="3871784"/>
            <a:ext cx="3054822" cy="2626216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382750557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23">
            <a:extLst>
              <a:ext uri="{FF2B5EF4-FFF2-40B4-BE49-F238E27FC236}">
                <a16:creationId xmlns:a16="http://schemas.microsoft.com/office/drawing/2014/main" id="{31634825-C78B-4158-8B7C-97BA5FB39B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400" y="360000"/>
            <a:ext cx="11473200" cy="619713"/>
          </a:xfrm>
        </p:spPr>
        <p:txBody>
          <a:bodyPr anchor="t">
            <a:normAutofit/>
          </a:bodyPr>
          <a:lstStyle/>
          <a:p>
            <a:r>
              <a:rPr lang="en-US" sz="3700" b="1" dirty="0" err="1"/>
              <a:t>Overordnede</a:t>
            </a:r>
            <a:r>
              <a:rPr lang="en-US" sz="3700" b="1" dirty="0"/>
              <a:t> </a:t>
            </a:r>
            <a:r>
              <a:rPr lang="en-US" sz="3700" b="1" dirty="0" err="1"/>
              <a:t>problemstillinger</a:t>
            </a:r>
            <a:endParaRPr lang="en-US" sz="3700" b="1" dirty="0"/>
          </a:p>
        </p:txBody>
      </p:sp>
      <p:sp>
        <p:nvSpPr>
          <p:cNvPr id="31" name="Slide Number Placeholder 3">
            <a:extLst>
              <a:ext uri="{FF2B5EF4-FFF2-40B4-BE49-F238E27FC236}">
                <a16:creationId xmlns:a16="http://schemas.microsoft.com/office/drawing/2014/main" id="{EBAB7D44-3C05-A937-A2FF-C477ABDEF6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9600" y="6375818"/>
            <a:ext cx="511868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fld id="{24C8C45C-947F-4981-8B3F-4F32E973C901}" type="slidenum">
              <a:rPr lang="en-GB" smtClean="0"/>
              <a:pPr>
                <a:spcAft>
                  <a:spcPts val="600"/>
                </a:spcAft>
              </a:pPr>
              <a:t>21</a:t>
            </a:fld>
            <a:endParaRPr lang="en-GB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587DAD8-CAB8-48A7-B201-66622ECFBBCF}"/>
              </a:ext>
            </a:extLst>
          </p:cNvPr>
          <p:cNvSpPr txBox="1">
            <a:spLocks/>
          </p:cNvSpPr>
          <p:nvPr/>
        </p:nvSpPr>
        <p:spPr>
          <a:xfrm>
            <a:off x="449911" y="3047805"/>
            <a:ext cx="5461000" cy="3121025"/>
          </a:xfrm>
          <a:prstGeom prst="rect">
            <a:avLst/>
          </a:prstGeom>
        </p:spPr>
        <p:txBody>
          <a:bodyPr vert="horz" lIns="72000" tIns="36000" rIns="72000" bIns="36000" rtlCol="0">
            <a:normAutofit/>
          </a:bodyPr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880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320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da-DK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45FA9F2-A28E-41FB-9686-9FE9C8ACA7E4}"/>
              </a:ext>
            </a:extLst>
          </p:cNvPr>
          <p:cNvSpPr txBox="1"/>
          <p:nvPr/>
        </p:nvSpPr>
        <p:spPr>
          <a:xfrm>
            <a:off x="8699236" y="1640396"/>
            <a:ext cx="331997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US" sz="16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F07828C-E04E-4EAF-A8CB-DF80BEA9C394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73881" y="1280011"/>
            <a:ext cx="11790125" cy="4888819"/>
          </a:xfrm>
        </p:spPr>
        <p:txBody>
          <a:bodyPr>
            <a:noAutofit/>
          </a:bodyPr>
          <a:lstStyle/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dledende: Stor opdrift fra vandtryk =&gt; ret mange trækpæle =&gt; eftervisning af gruppevirkning</a:t>
            </a: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ange pæle kunne ikke rammes ned ved prøveramning  =&gt;  udfordringer med trækkapacitet</a:t>
            </a: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nkre &gt;&lt; stålpæle – eller satse på, at betonpæle kunne rammes ned (risikoanalyse)?</a:t>
            </a: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ftervisning af trykkapacitet: Meget varierende jordbundsforhold =&gt; nødvendigt med stort omfang af PDA-målinger. </a:t>
            </a: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Korrigering af bæreevne for ekstra overlejring pga. højere rammeplanum og grundvandssænkning.</a:t>
            </a:r>
            <a:endParaRPr lang="da-DK" sz="17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solidFill>
                  <a:srgbClr val="FF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ange knækkede pæle</a:t>
            </a:r>
            <a:r>
              <a:rPr lang="da-DK" sz="1700" dirty="0">
                <a:solidFill>
                  <a:srgbClr val="FF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</a:t>
            </a:r>
            <a:r>
              <a:rPr lang="da-DK" sz="1700" dirty="0">
                <a:solidFill>
                  <a:srgbClr val="FF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For hurtig levering? For lidt længdearmering? </a:t>
            </a:r>
            <a:endParaRPr lang="da-DK" sz="1700" dirty="0">
              <a:solidFill>
                <a:srgbClr val="FF0000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everanceproblemer: Min. 3 ugers leveringstid =&gt; Ikke muligt med forsøg med større pæle eller pæle med mere længdearmering.</a:t>
            </a:r>
            <a:endParaRPr lang="da-DK" sz="17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tablering af jordankre: Sikring mod opadrettede grundvandsstrømninger fra vandmagasiner i kalken.</a:t>
            </a:r>
            <a:endParaRPr lang="da-DK" sz="17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spcAft>
                <a:spcPts val="400"/>
              </a:spcAft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pdriftsankre tæt på pæle: Skulle pæle eller ankre udføres først for ikke at skade hinanden/få indflydelse på bæreevnen?             </a:t>
            </a:r>
            <a:r>
              <a:rPr lang="da-DK" sz="1700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H</a:t>
            </a: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vor langt skulle pælene stå fra ankrene for at risikoen for skader var acceptable?</a:t>
            </a:r>
            <a:endParaRPr lang="da-DK" sz="17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spcAft>
                <a:spcPts val="400"/>
              </a:spcAft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st af jordankre: Begrænsninger i bundpladens kapacitet =&gt; Der skulle anvendes åg for test af ankre.</a:t>
            </a:r>
            <a:endParaRPr lang="da-DK" sz="17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vornår kunne grundvandssænkningen slukkes for ikke at få opdriftsproblemer under udførelsen?</a:t>
            </a: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spcAft>
                <a:spcPts val="400"/>
              </a:spcAft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Generelt: Ingen 100% sikre løsninger =&gt; Inddragelse af bygherre i valg på baggrund af opstilling af risikobillede.</a:t>
            </a:r>
            <a:endParaRPr lang="da-DK" sz="17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spcAft>
                <a:spcPts val="800"/>
              </a:spcAft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tram tidsplan =&gt; træffe hurtige beslutninger om valg af løsninger.</a:t>
            </a:r>
            <a:endParaRPr lang="da-DK" sz="17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474904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23">
            <a:extLst>
              <a:ext uri="{FF2B5EF4-FFF2-40B4-BE49-F238E27FC236}">
                <a16:creationId xmlns:a16="http://schemas.microsoft.com/office/drawing/2014/main" id="{31634825-C78B-4158-8B7C-97BA5FB39B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400" y="360000"/>
            <a:ext cx="11473200" cy="619713"/>
          </a:xfrm>
        </p:spPr>
        <p:txBody>
          <a:bodyPr anchor="t">
            <a:normAutofit/>
          </a:bodyPr>
          <a:lstStyle/>
          <a:p>
            <a:r>
              <a:rPr lang="en-US" sz="3700" b="1" dirty="0" err="1"/>
              <a:t>Overordnede</a:t>
            </a:r>
            <a:r>
              <a:rPr lang="en-US" sz="3700" b="1" dirty="0"/>
              <a:t> </a:t>
            </a:r>
            <a:r>
              <a:rPr lang="en-US" sz="3700" b="1" dirty="0" err="1"/>
              <a:t>problemstillinger</a:t>
            </a:r>
            <a:endParaRPr lang="en-US" sz="3700" b="1" dirty="0"/>
          </a:p>
        </p:txBody>
      </p:sp>
      <p:sp>
        <p:nvSpPr>
          <p:cNvPr id="31" name="Slide Number Placeholder 3">
            <a:extLst>
              <a:ext uri="{FF2B5EF4-FFF2-40B4-BE49-F238E27FC236}">
                <a16:creationId xmlns:a16="http://schemas.microsoft.com/office/drawing/2014/main" id="{EBAB7D44-3C05-A937-A2FF-C477ABDEF6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9600" y="6375818"/>
            <a:ext cx="511868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fld id="{24C8C45C-947F-4981-8B3F-4F32E973C901}" type="slidenum">
              <a:rPr lang="en-GB" smtClean="0"/>
              <a:pPr>
                <a:spcAft>
                  <a:spcPts val="600"/>
                </a:spcAft>
              </a:pPr>
              <a:t>22</a:t>
            </a:fld>
            <a:endParaRPr lang="en-GB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587DAD8-CAB8-48A7-B201-66622ECFBBCF}"/>
              </a:ext>
            </a:extLst>
          </p:cNvPr>
          <p:cNvSpPr txBox="1">
            <a:spLocks/>
          </p:cNvSpPr>
          <p:nvPr/>
        </p:nvSpPr>
        <p:spPr>
          <a:xfrm>
            <a:off x="449911" y="3047805"/>
            <a:ext cx="5461000" cy="3121025"/>
          </a:xfrm>
          <a:prstGeom prst="rect">
            <a:avLst/>
          </a:prstGeom>
        </p:spPr>
        <p:txBody>
          <a:bodyPr vert="horz" lIns="72000" tIns="36000" rIns="72000" bIns="36000" rtlCol="0">
            <a:normAutofit/>
          </a:bodyPr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880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320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da-DK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45FA9F2-A28E-41FB-9686-9FE9C8ACA7E4}"/>
              </a:ext>
            </a:extLst>
          </p:cNvPr>
          <p:cNvSpPr txBox="1"/>
          <p:nvPr/>
        </p:nvSpPr>
        <p:spPr>
          <a:xfrm>
            <a:off x="8699236" y="1640396"/>
            <a:ext cx="331997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US" sz="16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F07828C-E04E-4EAF-A8CB-DF80BEA9C394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73881" y="1280011"/>
            <a:ext cx="11790125" cy="4888819"/>
          </a:xfrm>
        </p:spPr>
        <p:txBody>
          <a:bodyPr>
            <a:noAutofit/>
          </a:bodyPr>
          <a:lstStyle/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dledende: Stor opdrift fra vandtryk =&gt; ret mange trækpæle =&gt; eftervisning af gruppevirkning</a:t>
            </a: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ange pæle kunne ikke rammes ned ved prøveramning  =&gt;  udfordringer med trækkapacitet</a:t>
            </a: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nkre &gt;&lt; stålpæle – eller satse på, at betonpæle kunne rammes ned (risikoanalyse)?</a:t>
            </a: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ftervisning af trykkapacitet: Meget varierende jordbundsforhold =&gt; nødvendigt med stort omfang af PDA-målinger. </a:t>
            </a: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Korrigering af bæreevne for ekstra overlejring pga. højere rammeplanum og grundvandssænkning.</a:t>
            </a:r>
            <a:endParaRPr lang="da-DK" sz="17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ange knækkede pæle</a:t>
            </a:r>
            <a:r>
              <a:rPr lang="da-DK" sz="17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</a:t>
            </a: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For hurtig levering? For lidt længdearmering? </a:t>
            </a:r>
            <a:endParaRPr lang="da-DK" sz="17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solidFill>
                  <a:srgbClr val="FF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everanceproblemer: Min. 3 ugers leveringstid =&gt; Ikke muligt med forsøg med større pæle eller pæle med mere længdearmering.</a:t>
            </a:r>
            <a:endParaRPr lang="da-DK" sz="1700" dirty="0">
              <a:solidFill>
                <a:srgbClr val="FF0000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tablering af jordankre: Sikring mod opadrettede grundvandsstrømninger fra vandmagasiner i kalken.</a:t>
            </a:r>
            <a:endParaRPr lang="da-DK" sz="17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spcAft>
                <a:spcPts val="400"/>
              </a:spcAft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pdriftsankre tæt på pæle: Skulle pæle eller ankre udføres først for ikke at skade hinanden/få indflydelse på bæreevnen?             </a:t>
            </a:r>
            <a:r>
              <a:rPr lang="da-DK" sz="1700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H</a:t>
            </a: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vor langt skulle pælene stå fra ankrene for at risikoen for skader var acceptable?</a:t>
            </a:r>
            <a:endParaRPr lang="da-DK" sz="17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spcAft>
                <a:spcPts val="400"/>
              </a:spcAft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st af jordankre: Begrænsninger i bundpladens kapacitet =&gt; Der skulle anvendes åg for test af ankre.</a:t>
            </a:r>
            <a:endParaRPr lang="da-DK" sz="17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vornår kunne grundvandssænkningen slukkes for ikke at få opdriftsproblemer under udførelsen?</a:t>
            </a: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spcAft>
                <a:spcPts val="400"/>
              </a:spcAft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Generelt: Ingen 100% sikre løsninger =&gt; Inddragelse af bygherre i valg på baggrund af opstilling af risikobillede.</a:t>
            </a:r>
            <a:endParaRPr lang="da-DK" sz="17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spcAft>
                <a:spcPts val="800"/>
              </a:spcAft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tram tidsplan =&gt; træffe hurtige beslutninger om valg af løsninger.</a:t>
            </a:r>
            <a:endParaRPr lang="da-DK" sz="17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922384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23">
            <a:extLst>
              <a:ext uri="{FF2B5EF4-FFF2-40B4-BE49-F238E27FC236}">
                <a16:creationId xmlns:a16="http://schemas.microsoft.com/office/drawing/2014/main" id="{31634825-C78B-4158-8B7C-97BA5FB39B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400" y="360000"/>
            <a:ext cx="11473200" cy="619713"/>
          </a:xfrm>
        </p:spPr>
        <p:txBody>
          <a:bodyPr anchor="t">
            <a:normAutofit/>
          </a:bodyPr>
          <a:lstStyle/>
          <a:p>
            <a:r>
              <a:rPr lang="en-US" sz="3700" b="1" dirty="0" err="1"/>
              <a:t>Overordnede</a:t>
            </a:r>
            <a:r>
              <a:rPr lang="en-US" sz="3700" b="1" dirty="0"/>
              <a:t> </a:t>
            </a:r>
            <a:r>
              <a:rPr lang="en-US" sz="3700" b="1" dirty="0" err="1"/>
              <a:t>problemstillinger</a:t>
            </a:r>
            <a:endParaRPr lang="en-US" sz="3700" b="1" dirty="0"/>
          </a:p>
        </p:txBody>
      </p:sp>
      <p:sp>
        <p:nvSpPr>
          <p:cNvPr id="31" name="Slide Number Placeholder 3">
            <a:extLst>
              <a:ext uri="{FF2B5EF4-FFF2-40B4-BE49-F238E27FC236}">
                <a16:creationId xmlns:a16="http://schemas.microsoft.com/office/drawing/2014/main" id="{EBAB7D44-3C05-A937-A2FF-C477ABDEF6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9600" y="6375818"/>
            <a:ext cx="511868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fld id="{24C8C45C-947F-4981-8B3F-4F32E973C901}" type="slidenum">
              <a:rPr lang="en-GB" smtClean="0"/>
              <a:pPr>
                <a:spcAft>
                  <a:spcPts val="600"/>
                </a:spcAft>
              </a:pPr>
              <a:t>23</a:t>
            </a:fld>
            <a:endParaRPr lang="en-GB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587DAD8-CAB8-48A7-B201-66622ECFBBCF}"/>
              </a:ext>
            </a:extLst>
          </p:cNvPr>
          <p:cNvSpPr txBox="1">
            <a:spLocks/>
          </p:cNvSpPr>
          <p:nvPr/>
        </p:nvSpPr>
        <p:spPr>
          <a:xfrm>
            <a:off x="449911" y="3047805"/>
            <a:ext cx="5461000" cy="3121025"/>
          </a:xfrm>
          <a:prstGeom prst="rect">
            <a:avLst/>
          </a:prstGeom>
        </p:spPr>
        <p:txBody>
          <a:bodyPr vert="horz" lIns="72000" tIns="36000" rIns="72000" bIns="36000" rtlCol="0">
            <a:normAutofit/>
          </a:bodyPr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880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320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da-DK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45FA9F2-A28E-41FB-9686-9FE9C8ACA7E4}"/>
              </a:ext>
            </a:extLst>
          </p:cNvPr>
          <p:cNvSpPr txBox="1"/>
          <p:nvPr/>
        </p:nvSpPr>
        <p:spPr>
          <a:xfrm>
            <a:off x="8699236" y="1640396"/>
            <a:ext cx="331997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US" sz="16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F07828C-E04E-4EAF-A8CB-DF80BEA9C394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73881" y="1280011"/>
            <a:ext cx="11790125" cy="4888819"/>
          </a:xfrm>
        </p:spPr>
        <p:txBody>
          <a:bodyPr>
            <a:noAutofit/>
          </a:bodyPr>
          <a:lstStyle/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dledende: Stor opdrift fra vandtryk =&gt; ret mange trækpæle =&gt; eftervisning af gruppevirkning</a:t>
            </a: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ange pæle kunne ikke rammes ned ved prøveramning  =&gt;  udfordringer med trækkapacitet</a:t>
            </a: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nkre &gt;&lt; stålpæle – eller satse på, at betonpæle kunne rammes ned (risikoanalyse)?</a:t>
            </a: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ftervisning af trykkapacitet: Meget varierende jordbundsforhold =&gt; nødvendigt med stort omfang af PDA-målinger. </a:t>
            </a: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Korrigering af bæreevne for ekstra overlejring pga. højere rammeplanum og grundvandssænkning.</a:t>
            </a:r>
            <a:endParaRPr lang="da-DK" sz="17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ange knækkede pæle</a:t>
            </a:r>
            <a:r>
              <a:rPr lang="da-DK" sz="17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</a:t>
            </a: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For hurtig levering? For lidt længdearmering? </a:t>
            </a:r>
            <a:endParaRPr lang="da-DK" sz="17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everanceproblemer: Min. 3 ugers leveringstid =&gt; Ikke muligt med forsøg med større pæle eller pæle med mere længdearmering.</a:t>
            </a:r>
            <a:endParaRPr lang="da-DK" sz="17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solidFill>
                  <a:srgbClr val="FF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tablering af jordankre: Sikring mod opadrettede grundvandsstrømninger fra vandmagasiner i kalken.</a:t>
            </a:r>
            <a:endParaRPr lang="da-DK" sz="1700" dirty="0">
              <a:solidFill>
                <a:srgbClr val="FF0000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spcAft>
                <a:spcPts val="400"/>
              </a:spcAft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pdriftsankre tæt på pæle: Skulle pæle eller ankre udføres først for ikke at skade hinanden/få indflydelse på bæreevnen?             </a:t>
            </a:r>
            <a:r>
              <a:rPr lang="da-DK" sz="1700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H</a:t>
            </a: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vor langt skulle pælene stå fra ankrene for at risikoen for skader var acceptable?</a:t>
            </a:r>
            <a:endParaRPr lang="da-DK" sz="17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spcAft>
                <a:spcPts val="400"/>
              </a:spcAft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st af jordankre: Begrænsninger i bundpladens kapacitet =&gt; Der skulle anvendes åg for test af ankre.</a:t>
            </a:r>
            <a:endParaRPr lang="da-DK" sz="17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vornår kunne grundvandssænkningen slukkes for ikke at få opdriftsproblemer under udførelsen?</a:t>
            </a: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spcAft>
                <a:spcPts val="400"/>
              </a:spcAft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Generelt: Ingen 100% sikre løsninger =&gt; Inddragelse af bygherre i valg på baggrund af opstilling af risikobillede.</a:t>
            </a:r>
            <a:endParaRPr lang="da-DK" sz="17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spcAft>
                <a:spcPts val="800"/>
              </a:spcAft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tram tidsplan =&gt; træffe hurtige beslutninger om valg af løsninger.</a:t>
            </a:r>
            <a:endParaRPr lang="da-DK" sz="17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110982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23">
            <a:extLst>
              <a:ext uri="{FF2B5EF4-FFF2-40B4-BE49-F238E27FC236}">
                <a16:creationId xmlns:a16="http://schemas.microsoft.com/office/drawing/2014/main" id="{31634825-C78B-4158-8B7C-97BA5FB39B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399" y="360000"/>
            <a:ext cx="11659812" cy="619713"/>
          </a:xfrm>
        </p:spPr>
        <p:txBody>
          <a:bodyPr anchor="t">
            <a:noAutofit/>
          </a:bodyPr>
          <a:lstStyle/>
          <a:p>
            <a:r>
              <a:rPr lang="en-US" sz="3700" b="1" dirty="0" err="1"/>
              <a:t>Etablering</a:t>
            </a:r>
            <a:r>
              <a:rPr lang="en-US" sz="3700" b="1" dirty="0"/>
              <a:t> af jordankre</a:t>
            </a:r>
          </a:p>
        </p:txBody>
      </p:sp>
      <p:sp>
        <p:nvSpPr>
          <p:cNvPr id="31" name="Slide Number Placeholder 3">
            <a:extLst>
              <a:ext uri="{FF2B5EF4-FFF2-40B4-BE49-F238E27FC236}">
                <a16:creationId xmlns:a16="http://schemas.microsoft.com/office/drawing/2014/main" id="{EBAB7D44-3C05-A937-A2FF-C477ABDEF6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9600" y="6375818"/>
            <a:ext cx="511868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fld id="{24C8C45C-947F-4981-8B3F-4F32E973C901}" type="slidenum">
              <a:rPr lang="en-GB" smtClean="0"/>
              <a:pPr>
                <a:spcAft>
                  <a:spcPts val="600"/>
                </a:spcAft>
              </a:pPr>
              <a:t>24</a:t>
            </a:fld>
            <a:endParaRPr lang="en-GB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26CD05F-FB19-4499-B143-655B84CA5FD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59398" y="1233624"/>
            <a:ext cx="11555794" cy="2209791"/>
          </a:xfrm>
        </p:spPr>
        <p:txBody>
          <a:bodyPr>
            <a:noAutofit/>
          </a:bodyPr>
          <a:lstStyle/>
          <a:p>
            <a:r>
              <a:rPr lang="da-DK" sz="2000" dirty="0"/>
              <a:t>Sikring mod opadrettet grundvandsstrømning fra kalken</a:t>
            </a:r>
          </a:p>
          <a:p>
            <a:pPr marL="558800">
              <a:buFontTx/>
              <a:buChar char="-"/>
            </a:pPr>
            <a:r>
              <a:rPr lang="da-DK" dirty="0"/>
              <a:t> Boring fra udgravningsniveau under vandspejl</a:t>
            </a:r>
          </a:p>
          <a:p>
            <a:pPr marL="558800">
              <a:buFontTx/>
              <a:buChar char="-"/>
            </a:pPr>
            <a:r>
              <a:rPr lang="da-DK" dirty="0"/>
              <a:t> Grundvandssænkning kun i magasinet (sand, ler) over kalken</a:t>
            </a:r>
          </a:p>
          <a:p>
            <a:pPr marL="615950" indent="-342900">
              <a:buFontTx/>
              <a:buChar char="-"/>
            </a:pPr>
            <a:r>
              <a:rPr lang="da-DK" dirty="0"/>
              <a:t>Risiko for artesisk vandtryk fra kalk</a:t>
            </a:r>
          </a:p>
          <a:p>
            <a:r>
              <a:rPr lang="da-DK" sz="2000" dirty="0"/>
              <a:t>Løsning: Pose med injektionsslanger lige over injektionszonen</a:t>
            </a:r>
          </a:p>
          <a:p>
            <a:pPr marL="558800">
              <a:buFontTx/>
              <a:buChar char="-"/>
            </a:pPr>
            <a:r>
              <a:rPr lang="da-DK" dirty="0"/>
              <a:t> Efterinjicerede lige efter ankermontering =&gt; pose trykket ud mod jord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1AF7C58-0FB9-4CDB-BCFD-F430BC5081FD}"/>
              </a:ext>
            </a:extLst>
          </p:cNvPr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34" b="20382"/>
          <a:stretch/>
        </p:blipFill>
        <p:spPr bwMode="auto">
          <a:xfrm>
            <a:off x="782954" y="3429000"/>
            <a:ext cx="3138257" cy="3069000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5CB4C2C0-592A-492D-8B31-A8D453CFC86A}"/>
              </a:ext>
            </a:extLst>
          </p:cNvPr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7157214" y="1481342"/>
            <a:ext cx="5340136" cy="408688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8387457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23">
            <a:extLst>
              <a:ext uri="{FF2B5EF4-FFF2-40B4-BE49-F238E27FC236}">
                <a16:creationId xmlns:a16="http://schemas.microsoft.com/office/drawing/2014/main" id="{31634825-C78B-4158-8B7C-97BA5FB39B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400" y="360000"/>
            <a:ext cx="11473200" cy="619713"/>
          </a:xfrm>
        </p:spPr>
        <p:txBody>
          <a:bodyPr anchor="t">
            <a:normAutofit/>
          </a:bodyPr>
          <a:lstStyle/>
          <a:p>
            <a:r>
              <a:rPr lang="en-US" sz="3700" b="1" dirty="0" err="1"/>
              <a:t>Overordnede</a:t>
            </a:r>
            <a:r>
              <a:rPr lang="en-US" sz="3700" b="1" dirty="0"/>
              <a:t> </a:t>
            </a:r>
            <a:r>
              <a:rPr lang="en-US" sz="3700" b="1" dirty="0" err="1"/>
              <a:t>problemstillinger</a:t>
            </a:r>
            <a:endParaRPr lang="en-US" sz="3700" b="1" dirty="0"/>
          </a:p>
        </p:txBody>
      </p:sp>
      <p:sp>
        <p:nvSpPr>
          <p:cNvPr id="31" name="Slide Number Placeholder 3">
            <a:extLst>
              <a:ext uri="{FF2B5EF4-FFF2-40B4-BE49-F238E27FC236}">
                <a16:creationId xmlns:a16="http://schemas.microsoft.com/office/drawing/2014/main" id="{EBAB7D44-3C05-A937-A2FF-C477ABDEF6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9600" y="6375818"/>
            <a:ext cx="511868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fld id="{24C8C45C-947F-4981-8B3F-4F32E973C901}" type="slidenum">
              <a:rPr lang="en-GB" smtClean="0"/>
              <a:pPr>
                <a:spcAft>
                  <a:spcPts val="600"/>
                </a:spcAft>
              </a:pPr>
              <a:t>25</a:t>
            </a:fld>
            <a:endParaRPr lang="en-GB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587DAD8-CAB8-48A7-B201-66622ECFBBCF}"/>
              </a:ext>
            </a:extLst>
          </p:cNvPr>
          <p:cNvSpPr txBox="1">
            <a:spLocks/>
          </p:cNvSpPr>
          <p:nvPr/>
        </p:nvSpPr>
        <p:spPr>
          <a:xfrm>
            <a:off x="449911" y="3047805"/>
            <a:ext cx="5461000" cy="3121025"/>
          </a:xfrm>
          <a:prstGeom prst="rect">
            <a:avLst/>
          </a:prstGeom>
        </p:spPr>
        <p:txBody>
          <a:bodyPr vert="horz" lIns="72000" tIns="36000" rIns="72000" bIns="36000" rtlCol="0">
            <a:normAutofit/>
          </a:bodyPr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880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320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da-DK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45FA9F2-A28E-41FB-9686-9FE9C8ACA7E4}"/>
              </a:ext>
            </a:extLst>
          </p:cNvPr>
          <p:cNvSpPr txBox="1"/>
          <p:nvPr/>
        </p:nvSpPr>
        <p:spPr>
          <a:xfrm>
            <a:off x="8699236" y="1640396"/>
            <a:ext cx="331997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US" sz="16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F07828C-E04E-4EAF-A8CB-DF80BEA9C394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73881" y="1280011"/>
            <a:ext cx="11790125" cy="4888819"/>
          </a:xfrm>
        </p:spPr>
        <p:txBody>
          <a:bodyPr>
            <a:noAutofit/>
          </a:bodyPr>
          <a:lstStyle/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dledende: Stor opdrift fra vandtryk =&gt; ret mange trækpæle =&gt; eftervisning af gruppevirkning</a:t>
            </a: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ange pæle kunne ikke rammes ned ved prøveramning  =&gt;  udfordringer med trækkapacitet</a:t>
            </a: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nkre &gt;&lt; stålpæle – eller satse på, at betonpæle kunne rammes ned (risikoanalyse)?</a:t>
            </a: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ftervisning af trykkapacitet: Meget varierende jordbundsforhold =&gt; nødvendigt med stort omfang af PDA-målinger. </a:t>
            </a: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Korrigering af bæreevne for ekstra overlejring pga. højere rammeplanum og grundvandssænkning.</a:t>
            </a:r>
            <a:endParaRPr lang="da-DK" sz="17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ange knækkede pæle</a:t>
            </a:r>
            <a:r>
              <a:rPr lang="da-DK" sz="17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</a:t>
            </a: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For hurtig levering? For lidt længdearmering? </a:t>
            </a:r>
            <a:endParaRPr lang="da-DK" sz="17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everanceproblemer: Min. 3 ugers leveringstid =&gt; Ikke muligt med forsøg med større pæle eller pæle med mere længdearmering.</a:t>
            </a:r>
            <a:endParaRPr lang="da-DK" sz="17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tablering af jordankre: Sikring mod opadrettede grundvandsstrømninger fra vandmagasiner i kalken.</a:t>
            </a:r>
            <a:endParaRPr lang="da-DK" sz="17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spcAft>
                <a:spcPts val="400"/>
              </a:spcAft>
              <a:buFont typeface="+mj-lt"/>
              <a:buAutoNum type="arabicParenR"/>
            </a:pPr>
            <a:r>
              <a:rPr lang="da-DK" sz="1700" dirty="0">
                <a:solidFill>
                  <a:srgbClr val="FF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pdriftsankre tæt på pæle: Skulle pæle eller ankre udføres først for ikke at skade hinanden/få indflydelse på bæreevnen?             </a:t>
            </a:r>
            <a:r>
              <a:rPr lang="da-DK" sz="1700" dirty="0">
                <a:solidFill>
                  <a:srgbClr val="FF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H</a:t>
            </a:r>
            <a:r>
              <a:rPr lang="da-DK" sz="1700" dirty="0">
                <a:solidFill>
                  <a:srgbClr val="FF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vor langt skulle pælene stå fra ankrene for at risikoen for skader var acceptable?</a:t>
            </a:r>
            <a:endParaRPr lang="da-DK" sz="1700" dirty="0">
              <a:solidFill>
                <a:srgbClr val="FF0000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spcAft>
                <a:spcPts val="400"/>
              </a:spcAft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st af jordankre: Begrænsninger i bundpladens kapacitet =&gt; Der skulle anvendes åg for test af ankre.</a:t>
            </a:r>
            <a:endParaRPr lang="da-DK" sz="17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vornår kunne grundvandssænkningen slukkes for ikke at få opdriftsproblemer under udførelsen?</a:t>
            </a: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spcAft>
                <a:spcPts val="400"/>
              </a:spcAft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Generelt: Ingen 100% sikre løsninger =&gt; Inddragelse af bygherre i valg på baggrund af opstilling af risikobillede.</a:t>
            </a:r>
            <a:endParaRPr lang="da-DK" sz="17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spcAft>
                <a:spcPts val="800"/>
              </a:spcAft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tram tidsplan =&gt; træffe hurtige beslutninger om valg af løsninger.</a:t>
            </a:r>
            <a:endParaRPr lang="da-DK" sz="17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048988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23">
            <a:extLst>
              <a:ext uri="{FF2B5EF4-FFF2-40B4-BE49-F238E27FC236}">
                <a16:creationId xmlns:a16="http://schemas.microsoft.com/office/drawing/2014/main" id="{31634825-C78B-4158-8B7C-97BA5FB39B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399" y="360000"/>
            <a:ext cx="11659812" cy="619713"/>
          </a:xfrm>
        </p:spPr>
        <p:txBody>
          <a:bodyPr anchor="t">
            <a:noAutofit/>
          </a:bodyPr>
          <a:lstStyle/>
          <a:p>
            <a:r>
              <a:rPr lang="en-US" sz="3700" b="1" dirty="0" err="1"/>
              <a:t>Opdriftsankre</a:t>
            </a:r>
            <a:r>
              <a:rPr lang="en-US" sz="3700" b="1" dirty="0"/>
              <a:t> </a:t>
            </a:r>
            <a:r>
              <a:rPr lang="en-US" sz="3700" b="1" dirty="0" err="1"/>
              <a:t>tæt</a:t>
            </a:r>
            <a:r>
              <a:rPr lang="en-US" sz="3700" b="1" dirty="0"/>
              <a:t> </a:t>
            </a:r>
            <a:r>
              <a:rPr lang="en-US" sz="3700" b="1" dirty="0" err="1"/>
              <a:t>på</a:t>
            </a:r>
            <a:r>
              <a:rPr lang="en-US" sz="3700" b="1" dirty="0"/>
              <a:t> </a:t>
            </a:r>
            <a:r>
              <a:rPr lang="en-US" sz="3700" b="1" dirty="0" err="1"/>
              <a:t>pæle</a:t>
            </a:r>
            <a:endParaRPr lang="en-US" sz="3700" b="1" dirty="0"/>
          </a:p>
        </p:txBody>
      </p:sp>
      <p:sp>
        <p:nvSpPr>
          <p:cNvPr id="31" name="Slide Number Placeholder 3">
            <a:extLst>
              <a:ext uri="{FF2B5EF4-FFF2-40B4-BE49-F238E27FC236}">
                <a16:creationId xmlns:a16="http://schemas.microsoft.com/office/drawing/2014/main" id="{EBAB7D44-3C05-A937-A2FF-C477ABDEF6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9600" y="6375818"/>
            <a:ext cx="511868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fld id="{24C8C45C-947F-4981-8B3F-4F32E973C901}" type="slidenum">
              <a:rPr lang="en-GB" smtClean="0"/>
              <a:pPr>
                <a:spcAft>
                  <a:spcPts val="600"/>
                </a:spcAft>
              </a:pPr>
              <a:t>26</a:t>
            </a:fld>
            <a:endParaRPr lang="en-GB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26CD05F-FB19-4499-B143-655B84CA5FD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59398" y="1299528"/>
            <a:ext cx="11555794" cy="1484861"/>
          </a:xfrm>
        </p:spPr>
        <p:txBody>
          <a:bodyPr>
            <a:noAutofit/>
          </a:bodyPr>
          <a:lstStyle/>
          <a:p>
            <a:r>
              <a:rPr lang="da-DK" sz="2000" dirty="0"/>
              <a:t>Skulle pæle eller ankre udføres først for ikke at skade hinanden/få indflydelse på bæreevnen?</a:t>
            </a:r>
          </a:p>
          <a:p>
            <a:r>
              <a:rPr lang="da-DK" sz="2000" dirty="0"/>
              <a:t>Og hvor langt skulle pælene stå fra ankrene for at risikoen for skader var acceptable?</a:t>
            </a:r>
          </a:p>
          <a:p>
            <a:pPr marL="615950" indent="-342900">
              <a:buFontTx/>
              <a:buChar char="-"/>
            </a:pPr>
            <a:r>
              <a:rPr lang="da-DK" dirty="0"/>
              <a:t>Checke pejlinger fra grundvandssænkning løbende</a:t>
            </a:r>
          </a:p>
          <a:p>
            <a:r>
              <a:rPr lang="da-DK" sz="2000" dirty="0"/>
              <a:t>Risikovurdering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0DABE25-301B-46B3-B249-2500700F6773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2377" y="2883187"/>
            <a:ext cx="2847333" cy="3633948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B2F5FA14-3F49-4122-90BB-E8E6984B35B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37295" y="2325359"/>
            <a:ext cx="3984796" cy="39763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263602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23">
            <a:extLst>
              <a:ext uri="{FF2B5EF4-FFF2-40B4-BE49-F238E27FC236}">
                <a16:creationId xmlns:a16="http://schemas.microsoft.com/office/drawing/2014/main" id="{31634825-C78B-4158-8B7C-97BA5FB39B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400" y="360000"/>
            <a:ext cx="11473200" cy="619713"/>
          </a:xfrm>
        </p:spPr>
        <p:txBody>
          <a:bodyPr anchor="t">
            <a:normAutofit/>
          </a:bodyPr>
          <a:lstStyle/>
          <a:p>
            <a:r>
              <a:rPr lang="en-US" sz="3700" b="1" dirty="0" err="1"/>
              <a:t>Overordnede</a:t>
            </a:r>
            <a:r>
              <a:rPr lang="en-US" sz="3700" b="1" dirty="0"/>
              <a:t> </a:t>
            </a:r>
            <a:r>
              <a:rPr lang="en-US" sz="3700" b="1" dirty="0" err="1"/>
              <a:t>problemstillinger</a:t>
            </a:r>
            <a:endParaRPr lang="en-US" sz="3700" b="1" dirty="0"/>
          </a:p>
        </p:txBody>
      </p:sp>
      <p:sp>
        <p:nvSpPr>
          <p:cNvPr id="31" name="Slide Number Placeholder 3">
            <a:extLst>
              <a:ext uri="{FF2B5EF4-FFF2-40B4-BE49-F238E27FC236}">
                <a16:creationId xmlns:a16="http://schemas.microsoft.com/office/drawing/2014/main" id="{EBAB7D44-3C05-A937-A2FF-C477ABDEF6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9600" y="6375818"/>
            <a:ext cx="511868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fld id="{24C8C45C-947F-4981-8B3F-4F32E973C901}" type="slidenum">
              <a:rPr lang="en-GB" smtClean="0"/>
              <a:pPr>
                <a:spcAft>
                  <a:spcPts val="600"/>
                </a:spcAft>
              </a:pPr>
              <a:t>27</a:t>
            </a:fld>
            <a:endParaRPr lang="en-GB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587DAD8-CAB8-48A7-B201-66622ECFBBCF}"/>
              </a:ext>
            </a:extLst>
          </p:cNvPr>
          <p:cNvSpPr txBox="1">
            <a:spLocks/>
          </p:cNvSpPr>
          <p:nvPr/>
        </p:nvSpPr>
        <p:spPr>
          <a:xfrm>
            <a:off x="449911" y="3047805"/>
            <a:ext cx="5461000" cy="3121025"/>
          </a:xfrm>
          <a:prstGeom prst="rect">
            <a:avLst/>
          </a:prstGeom>
        </p:spPr>
        <p:txBody>
          <a:bodyPr vert="horz" lIns="72000" tIns="36000" rIns="72000" bIns="36000" rtlCol="0">
            <a:normAutofit/>
          </a:bodyPr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880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320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da-DK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45FA9F2-A28E-41FB-9686-9FE9C8ACA7E4}"/>
              </a:ext>
            </a:extLst>
          </p:cNvPr>
          <p:cNvSpPr txBox="1"/>
          <p:nvPr/>
        </p:nvSpPr>
        <p:spPr>
          <a:xfrm>
            <a:off x="8699236" y="1640396"/>
            <a:ext cx="331997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US" sz="16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F07828C-E04E-4EAF-A8CB-DF80BEA9C394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73881" y="1280011"/>
            <a:ext cx="11790125" cy="4888819"/>
          </a:xfrm>
        </p:spPr>
        <p:txBody>
          <a:bodyPr>
            <a:noAutofit/>
          </a:bodyPr>
          <a:lstStyle/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dledende: Stor opdrift fra vandtryk =&gt; ret mange trækpæle =&gt; eftervisning af gruppevirkning</a:t>
            </a: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ange pæle kunne ikke rammes ned ved prøveramning  =&gt;  udfordringer med trækkapacitet</a:t>
            </a: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nkre &gt;&lt; stålpæle – eller satse på, at betonpæle kunne rammes ned (risikoanalyse)?</a:t>
            </a: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ftervisning af trykkapacitet: Meget varierende jordbundsforhold =&gt; nødvendigt med stort omfang af PDA-målinger. </a:t>
            </a: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Korrigering af bæreevne for ekstra overlejring pga. højere rammeplanum og grundvandssænkning.</a:t>
            </a:r>
            <a:endParaRPr lang="da-DK" sz="17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ange knækkede pæle</a:t>
            </a:r>
            <a:r>
              <a:rPr lang="da-DK" sz="17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</a:t>
            </a: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For hurtig levering? For lidt længdearmering? </a:t>
            </a:r>
            <a:endParaRPr lang="da-DK" sz="17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everanceproblemer: Min. 3 ugers leveringstid =&gt; Ikke muligt med forsøg med større pæle eller pæle med mere længdearmering.</a:t>
            </a:r>
            <a:endParaRPr lang="da-DK" sz="17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tablering af jordankre: Sikring mod opadrettede grundvandsstrømninger fra vandmagasiner i kalken.</a:t>
            </a:r>
            <a:endParaRPr lang="da-DK" sz="17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spcAft>
                <a:spcPts val="400"/>
              </a:spcAft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pdriftsankre tæt på pæle: Skulle pæle eller ankre udføres først for ikke at skade hinanden/få indflydelse på bæreevnen?             </a:t>
            </a:r>
            <a:r>
              <a:rPr lang="da-DK" sz="1700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H</a:t>
            </a: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vor langt skulle pælene stå fra ankrene for at risikoen for skader var acceptable?</a:t>
            </a:r>
            <a:endParaRPr lang="da-DK" sz="17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spcAft>
                <a:spcPts val="400"/>
              </a:spcAft>
              <a:buFont typeface="+mj-lt"/>
              <a:buAutoNum type="arabicParenR"/>
            </a:pPr>
            <a:r>
              <a:rPr lang="da-DK" sz="1700" dirty="0">
                <a:solidFill>
                  <a:srgbClr val="FF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st af jordankre: Begrænsninger i bundpladens kapacitet =&gt; Der skulle anvendes åg for test af ankre.</a:t>
            </a:r>
            <a:endParaRPr lang="da-DK" sz="1700" dirty="0">
              <a:solidFill>
                <a:srgbClr val="FF0000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vornår kunne grundvandssænkningen slukkes for ikke at få opdriftsproblemer under udførelsen?</a:t>
            </a: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spcAft>
                <a:spcPts val="400"/>
              </a:spcAft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Generelt: Ingen 100% sikre løsninger =&gt; Inddragelse af bygherre i valg på baggrund af opstilling af risikobillede.</a:t>
            </a:r>
            <a:endParaRPr lang="da-DK" sz="17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spcAft>
                <a:spcPts val="800"/>
              </a:spcAft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tram tidsplan =&gt; træffe hurtige beslutninger om valg af løsninger.</a:t>
            </a:r>
            <a:endParaRPr lang="da-DK" sz="17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508500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23">
            <a:extLst>
              <a:ext uri="{FF2B5EF4-FFF2-40B4-BE49-F238E27FC236}">
                <a16:creationId xmlns:a16="http://schemas.microsoft.com/office/drawing/2014/main" id="{31634825-C78B-4158-8B7C-97BA5FB39B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399" y="360000"/>
            <a:ext cx="11659812" cy="619713"/>
          </a:xfrm>
        </p:spPr>
        <p:txBody>
          <a:bodyPr anchor="t">
            <a:noAutofit/>
          </a:bodyPr>
          <a:lstStyle/>
          <a:p>
            <a:r>
              <a:rPr lang="en-US" sz="3700" b="1" dirty="0"/>
              <a:t>Test af jordankre</a:t>
            </a:r>
          </a:p>
        </p:txBody>
      </p:sp>
      <p:sp>
        <p:nvSpPr>
          <p:cNvPr id="31" name="Slide Number Placeholder 3">
            <a:extLst>
              <a:ext uri="{FF2B5EF4-FFF2-40B4-BE49-F238E27FC236}">
                <a16:creationId xmlns:a16="http://schemas.microsoft.com/office/drawing/2014/main" id="{EBAB7D44-3C05-A937-A2FF-C477ABDEF6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9600" y="6375818"/>
            <a:ext cx="511868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fld id="{24C8C45C-947F-4981-8B3F-4F32E973C901}" type="slidenum">
              <a:rPr lang="en-GB" smtClean="0"/>
              <a:pPr>
                <a:spcAft>
                  <a:spcPts val="600"/>
                </a:spcAft>
              </a:pPr>
              <a:t>28</a:t>
            </a:fld>
            <a:endParaRPr lang="en-GB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26CD05F-FB19-4499-B143-655B84CA5FD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59398" y="1299528"/>
            <a:ext cx="11555794" cy="479845"/>
          </a:xfrm>
        </p:spPr>
        <p:txBody>
          <a:bodyPr>
            <a:noAutofit/>
          </a:bodyPr>
          <a:lstStyle/>
          <a:p>
            <a:r>
              <a:rPr lang="da-DK" sz="2000" dirty="0"/>
              <a:t>Begrænsninger i bundpladens kapacitet =&gt; Der skulle anvendes åg for test af mange ankr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DDEE443-ACCB-44C3-AFB8-22ABD3A389C2}"/>
              </a:ext>
            </a:extLst>
          </p:cNvPr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1238" b="20114"/>
          <a:stretch/>
        </p:blipFill>
        <p:spPr bwMode="auto">
          <a:xfrm>
            <a:off x="546369" y="1779374"/>
            <a:ext cx="4998397" cy="4271230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E72A790-8959-4A7E-95C1-74CA22AB9614}"/>
              </a:ext>
            </a:extLst>
          </p:cNvPr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828"/>
          <a:stretch/>
        </p:blipFill>
        <p:spPr bwMode="auto">
          <a:xfrm>
            <a:off x="6328349" y="1779373"/>
            <a:ext cx="4010025" cy="4393565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123593461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23">
            <a:extLst>
              <a:ext uri="{FF2B5EF4-FFF2-40B4-BE49-F238E27FC236}">
                <a16:creationId xmlns:a16="http://schemas.microsoft.com/office/drawing/2014/main" id="{31634825-C78B-4158-8B7C-97BA5FB39B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400" y="360000"/>
            <a:ext cx="11473200" cy="619713"/>
          </a:xfrm>
        </p:spPr>
        <p:txBody>
          <a:bodyPr anchor="t">
            <a:normAutofit/>
          </a:bodyPr>
          <a:lstStyle/>
          <a:p>
            <a:r>
              <a:rPr lang="en-US" sz="3700" b="1" dirty="0" err="1"/>
              <a:t>Overordnede</a:t>
            </a:r>
            <a:r>
              <a:rPr lang="en-US" sz="3700" b="1" dirty="0"/>
              <a:t> </a:t>
            </a:r>
            <a:r>
              <a:rPr lang="en-US" sz="3700" b="1" dirty="0" err="1"/>
              <a:t>problemstillinger</a:t>
            </a:r>
            <a:endParaRPr lang="en-US" sz="3700" b="1" dirty="0"/>
          </a:p>
        </p:txBody>
      </p:sp>
      <p:sp>
        <p:nvSpPr>
          <p:cNvPr id="31" name="Slide Number Placeholder 3">
            <a:extLst>
              <a:ext uri="{FF2B5EF4-FFF2-40B4-BE49-F238E27FC236}">
                <a16:creationId xmlns:a16="http://schemas.microsoft.com/office/drawing/2014/main" id="{EBAB7D44-3C05-A937-A2FF-C477ABDEF6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9600" y="6375818"/>
            <a:ext cx="511868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fld id="{24C8C45C-947F-4981-8B3F-4F32E973C901}" type="slidenum">
              <a:rPr lang="en-GB" smtClean="0"/>
              <a:pPr>
                <a:spcAft>
                  <a:spcPts val="600"/>
                </a:spcAft>
              </a:pPr>
              <a:t>29</a:t>
            </a:fld>
            <a:endParaRPr lang="en-GB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587DAD8-CAB8-48A7-B201-66622ECFBBCF}"/>
              </a:ext>
            </a:extLst>
          </p:cNvPr>
          <p:cNvSpPr txBox="1">
            <a:spLocks/>
          </p:cNvSpPr>
          <p:nvPr/>
        </p:nvSpPr>
        <p:spPr>
          <a:xfrm>
            <a:off x="449911" y="3047805"/>
            <a:ext cx="5461000" cy="3121025"/>
          </a:xfrm>
          <a:prstGeom prst="rect">
            <a:avLst/>
          </a:prstGeom>
        </p:spPr>
        <p:txBody>
          <a:bodyPr vert="horz" lIns="72000" tIns="36000" rIns="72000" bIns="36000" rtlCol="0">
            <a:normAutofit/>
          </a:bodyPr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880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320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da-DK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45FA9F2-A28E-41FB-9686-9FE9C8ACA7E4}"/>
              </a:ext>
            </a:extLst>
          </p:cNvPr>
          <p:cNvSpPr txBox="1"/>
          <p:nvPr/>
        </p:nvSpPr>
        <p:spPr>
          <a:xfrm>
            <a:off x="8699236" y="1640396"/>
            <a:ext cx="331997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US" sz="16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F07828C-E04E-4EAF-A8CB-DF80BEA9C394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73881" y="1280011"/>
            <a:ext cx="11790125" cy="4888819"/>
          </a:xfrm>
        </p:spPr>
        <p:txBody>
          <a:bodyPr>
            <a:noAutofit/>
          </a:bodyPr>
          <a:lstStyle/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dledende: Stor opdrift fra vandtryk =&gt; ret mange trækpæle =&gt; eftervisning af gruppevirkning</a:t>
            </a: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ange pæle kunne ikke rammes ned ved prøveramning  =&gt;  udfordringer med trækkapacitet</a:t>
            </a: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nkre &gt;&lt; stålpæle – eller satse på, at betonpæle kunne rammes ned (risikoanalyse)?</a:t>
            </a: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ftervisning af trykkapacitet: Meget varierende jordbundsforhold =&gt; nødvendigt med stort omfang af PDA-målinger. </a:t>
            </a: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Korrigering af bæreevne for ekstra overlejring pga. højere rammeplanum og grundvandssænkning.</a:t>
            </a:r>
            <a:endParaRPr lang="da-DK" sz="17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ange knækkede pæle</a:t>
            </a:r>
            <a:r>
              <a:rPr lang="da-DK" sz="17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</a:t>
            </a: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For hurtig levering? For lidt længdearmering? </a:t>
            </a:r>
            <a:endParaRPr lang="da-DK" sz="17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everanceproblemer: Min. 3 ugers leveringstid =&gt; Ikke muligt med forsøg med større pæle eller pæle med mere længdearmering.</a:t>
            </a:r>
            <a:endParaRPr lang="da-DK" sz="17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tablering af jordankre: Sikring mod opadrettede grundvandsstrømninger fra vandmagasiner i kalken.</a:t>
            </a:r>
            <a:endParaRPr lang="da-DK" sz="17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spcAft>
                <a:spcPts val="400"/>
              </a:spcAft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pdriftsankre tæt på pæle: Skulle pæle eller ankre udføres først for ikke at skade hinanden/få indflydelse på bæreevnen?             </a:t>
            </a:r>
            <a:r>
              <a:rPr lang="da-DK" sz="1700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H</a:t>
            </a: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vor langt skulle pælene stå fra ankrene for at risikoen for skader var acceptable?</a:t>
            </a:r>
            <a:endParaRPr lang="da-DK" sz="17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spcAft>
                <a:spcPts val="400"/>
              </a:spcAft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st af jordankre: Begrænsninger i bundpladens kapacitet =&gt; Der skulle anvendes åg for test af ankre.</a:t>
            </a:r>
            <a:endParaRPr lang="da-DK" sz="17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solidFill>
                  <a:srgbClr val="FF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vornår kunne grundvandssænkningen slukkes for ikke at få opdriftsproblemer under udførelsen?</a:t>
            </a: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spcAft>
                <a:spcPts val="400"/>
              </a:spcAft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Generelt: Ingen 100% sikre løsninger =&gt; Inddragelse af bygherre i valg på baggrund af opstilling af risikobillede.</a:t>
            </a:r>
            <a:endParaRPr lang="da-DK" sz="17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spcAft>
                <a:spcPts val="800"/>
              </a:spcAft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tram tidsplan =&gt; træffe hurtige beslutninger om valg af løsninger.</a:t>
            </a:r>
            <a:endParaRPr lang="da-DK" sz="17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260420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23">
            <a:extLst>
              <a:ext uri="{FF2B5EF4-FFF2-40B4-BE49-F238E27FC236}">
                <a16:creationId xmlns:a16="http://schemas.microsoft.com/office/drawing/2014/main" id="{31634825-C78B-4158-8B7C-97BA5FB39B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400" y="360000"/>
            <a:ext cx="11473200" cy="619713"/>
          </a:xfrm>
        </p:spPr>
        <p:txBody>
          <a:bodyPr anchor="t">
            <a:normAutofit/>
          </a:bodyPr>
          <a:lstStyle/>
          <a:p>
            <a:r>
              <a:rPr lang="en-US" sz="3700" b="1" dirty="0" err="1"/>
              <a:t>Projektet</a:t>
            </a:r>
            <a:r>
              <a:rPr lang="en-US" sz="3700" b="1" dirty="0"/>
              <a:t> – </a:t>
            </a:r>
            <a:r>
              <a:rPr lang="en-US" sz="3700" b="1" dirty="0" err="1"/>
              <a:t>hvem</a:t>
            </a:r>
            <a:r>
              <a:rPr lang="en-US" sz="3700" b="1" dirty="0"/>
              <a:t> og </a:t>
            </a:r>
            <a:r>
              <a:rPr lang="en-US" sz="3700" b="1" dirty="0" err="1"/>
              <a:t>hvad</a:t>
            </a:r>
            <a:endParaRPr lang="en-US" sz="3700" b="1" dirty="0"/>
          </a:p>
        </p:txBody>
      </p:sp>
      <p:sp>
        <p:nvSpPr>
          <p:cNvPr id="29" name="Subtitle 2">
            <a:extLst>
              <a:ext uri="{FF2B5EF4-FFF2-40B4-BE49-F238E27FC236}">
                <a16:creationId xmlns:a16="http://schemas.microsoft.com/office/drawing/2014/main" id="{7510301A-121C-049F-409C-233E289CDF7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8150" y="1001374"/>
            <a:ext cx="11394450" cy="369332"/>
          </a:xfrm>
        </p:spPr>
        <p:txBody>
          <a:bodyPr/>
          <a:lstStyle/>
          <a:p>
            <a:r>
              <a:rPr lang="en-US" dirty="0">
                <a:latin typeface="+mn-lt"/>
              </a:rPr>
              <a:t>- </a:t>
            </a:r>
            <a:r>
              <a:rPr lang="en-US" dirty="0" err="1">
                <a:latin typeface="+mn-lt"/>
              </a:rPr>
              <a:t>København</a:t>
            </a:r>
            <a:r>
              <a:rPr lang="en-US" dirty="0">
                <a:latin typeface="+mn-lt"/>
              </a:rPr>
              <a:t> </a:t>
            </a:r>
            <a:r>
              <a:rPr lang="en-US" dirty="0" err="1">
                <a:latin typeface="+mn-lt"/>
              </a:rPr>
              <a:t>Nordhavnen</a:t>
            </a:r>
            <a:r>
              <a:rPr lang="en-US" dirty="0">
                <a:latin typeface="+mn-lt"/>
              </a:rPr>
              <a:t>. Ved </a:t>
            </a:r>
            <a:r>
              <a:rPr lang="en-US" dirty="0" err="1">
                <a:latin typeface="+mn-lt"/>
              </a:rPr>
              <a:t>Orientkaj</a:t>
            </a:r>
            <a:r>
              <a:rPr lang="en-US" dirty="0">
                <a:latin typeface="+mn-lt"/>
              </a:rPr>
              <a:t> Station</a:t>
            </a:r>
          </a:p>
        </p:txBody>
      </p:sp>
      <p:sp>
        <p:nvSpPr>
          <p:cNvPr id="31" name="Slide Number Placeholder 3">
            <a:extLst>
              <a:ext uri="{FF2B5EF4-FFF2-40B4-BE49-F238E27FC236}">
                <a16:creationId xmlns:a16="http://schemas.microsoft.com/office/drawing/2014/main" id="{EBAB7D44-3C05-A937-A2FF-C477ABDEF6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9600" y="6375818"/>
            <a:ext cx="511868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fld id="{24C8C45C-947F-4981-8B3F-4F32E973C901}" type="slidenum">
              <a:rPr lang="en-GB" smtClean="0"/>
              <a:pPr>
                <a:spcAft>
                  <a:spcPts val="600"/>
                </a:spcAft>
              </a:pPr>
              <a:t>3</a:t>
            </a:fld>
            <a:endParaRPr lang="en-GB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26CD05F-FB19-4499-B143-655B84CA5FD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59401" y="1754365"/>
            <a:ext cx="4121712" cy="896620"/>
          </a:xfrm>
        </p:spPr>
        <p:txBody>
          <a:bodyPr>
            <a:noAutofit/>
          </a:bodyPr>
          <a:lstStyle/>
          <a:p>
            <a:r>
              <a:rPr lang="da-DK" sz="1800" dirty="0"/>
              <a:t>AP Pension (3.04)</a:t>
            </a:r>
          </a:p>
          <a:p>
            <a:r>
              <a:rPr lang="da-DK" sz="1800" dirty="0" err="1"/>
              <a:t>Accura</a:t>
            </a:r>
            <a:r>
              <a:rPr lang="da-DK" sz="1800" dirty="0"/>
              <a:t> Advokatpartnerselskab (3.06)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587DAD8-CAB8-48A7-B201-66622ECFBBCF}"/>
              </a:ext>
            </a:extLst>
          </p:cNvPr>
          <p:cNvSpPr txBox="1">
            <a:spLocks/>
          </p:cNvSpPr>
          <p:nvPr/>
        </p:nvSpPr>
        <p:spPr>
          <a:xfrm>
            <a:off x="449911" y="3047805"/>
            <a:ext cx="5461000" cy="3121025"/>
          </a:xfrm>
          <a:prstGeom prst="rect">
            <a:avLst/>
          </a:prstGeom>
        </p:spPr>
        <p:txBody>
          <a:bodyPr vert="horz" lIns="72000" tIns="36000" rIns="72000" bIns="36000" rtlCol="0">
            <a:normAutofit/>
          </a:bodyPr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880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320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da-DK" dirty="0"/>
          </a:p>
        </p:txBody>
      </p:sp>
      <p:pic>
        <p:nvPicPr>
          <p:cNvPr id="10" name="Picture 9" descr="A picture containing sky, building, outdoor, government building&#10;&#10;Description automatically generated">
            <a:extLst>
              <a:ext uri="{FF2B5EF4-FFF2-40B4-BE49-F238E27FC236}">
                <a16:creationId xmlns:a16="http://schemas.microsoft.com/office/drawing/2014/main" id="{51DE3E4C-7AE9-4031-B51E-100C5DC42CA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401" y="2891002"/>
            <a:ext cx="6011238" cy="3381322"/>
          </a:xfrm>
          <a:prstGeom prst="rect">
            <a:avLst/>
          </a:prstGeom>
        </p:spPr>
      </p:pic>
      <p:pic>
        <p:nvPicPr>
          <p:cNvPr id="16" name="Content Placeholder 15" descr="A picture containing sky, outdoor, building&#10;&#10;Description automatically generated">
            <a:extLst>
              <a:ext uri="{FF2B5EF4-FFF2-40B4-BE49-F238E27FC236}">
                <a16:creationId xmlns:a16="http://schemas.microsoft.com/office/drawing/2014/main" id="{F16C637A-FF12-46D6-AD01-0F234DBF292F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71"/>
          <a:stretch/>
        </p:blipFill>
        <p:spPr>
          <a:xfrm>
            <a:off x="6828481" y="2891000"/>
            <a:ext cx="5004118" cy="3381323"/>
          </a:xfrm>
        </p:spPr>
      </p:pic>
      <p:sp>
        <p:nvSpPr>
          <p:cNvPr id="20" name="Content Placeholder 5">
            <a:extLst>
              <a:ext uri="{FF2B5EF4-FFF2-40B4-BE49-F238E27FC236}">
                <a16:creationId xmlns:a16="http://schemas.microsoft.com/office/drawing/2014/main" id="{7E5B7F26-8DFF-4418-9D20-E6F4176F812A}"/>
              </a:ext>
            </a:extLst>
          </p:cNvPr>
          <p:cNvSpPr txBox="1">
            <a:spLocks/>
          </p:cNvSpPr>
          <p:nvPr/>
        </p:nvSpPr>
        <p:spPr>
          <a:xfrm>
            <a:off x="4591698" y="1729180"/>
            <a:ext cx="4117535" cy="896620"/>
          </a:xfrm>
          <a:prstGeom prst="rect">
            <a:avLst/>
          </a:prstGeom>
        </p:spPr>
        <p:txBody>
          <a:bodyPr vert="horz" lIns="72000" tIns="36000" rIns="72000" bIns="36000" rtlCol="0">
            <a:normAutofit/>
          </a:bodyPr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880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320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sz="1800" dirty="0"/>
              <a:t>Totalentreprenør: </a:t>
            </a:r>
            <a:r>
              <a:rPr lang="en-US" sz="1800" dirty="0"/>
              <a:t>5E BYG A/S </a:t>
            </a:r>
          </a:p>
          <a:p>
            <a:r>
              <a:rPr lang="en-US" sz="1800" dirty="0" err="1"/>
              <a:t>Ramme</a:t>
            </a:r>
            <a:r>
              <a:rPr lang="en-US" sz="1800" dirty="0"/>
              <a:t>- og </a:t>
            </a:r>
            <a:r>
              <a:rPr lang="en-US" sz="1800" dirty="0" err="1"/>
              <a:t>boreentrenrenør</a:t>
            </a:r>
            <a:r>
              <a:rPr lang="en-US" sz="1800" dirty="0"/>
              <a:t>: </a:t>
            </a:r>
            <a:r>
              <a:rPr lang="en-US" sz="1800" dirty="0" err="1"/>
              <a:t>Arkil</a:t>
            </a:r>
            <a:endParaRPr lang="en-US" sz="1800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45FA9F2-A28E-41FB-9686-9FE9C8ACA7E4}"/>
              </a:ext>
            </a:extLst>
          </p:cNvPr>
          <p:cNvSpPr txBox="1"/>
          <p:nvPr/>
        </p:nvSpPr>
        <p:spPr>
          <a:xfrm>
            <a:off x="8699236" y="1640396"/>
            <a:ext cx="331997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US" sz="1600" dirty="0"/>
          </a:p>
        </p:txBody>
      </p:sp>
      <p:sp>
        <p:nvSpPr>
          <p:cNvPr id="23" name="Content Placeholder 5">
            <a:extLst>
              <a:ext uri="{FF2B5EF4-FFF2-40B4-BE49-F238E27FC236}">
                <a16:creationId xmlns:a16="http://schemas.microsoft.com/office/drawing/2014/main" id="{977E0382-50C6-497A-9257-A1B0A455FD9B}"/>
              </a:ext>
            </a:extLst>
          </p:cNvPr>
          <p:cNvSpPr txBox="1">
            <a:spLocks/>
          </p:cNvSpPr>
          <p:nvPr/>
        </p:nvSpPr>
        <p:spPr>
          <a:xfrm>
            <a:off x="8691953" y="1701205"/>
            <a:ext cx="3223239" cy="896620"/>
          </a:xfrm>
          <a:prstGeom prst="rect">
            <a:avLst/>
          </a:prstGeom>
        </p:spPr>
        <p:txBody>
          <a:bodyPr vert="horz" lIns="72000" tIns="36000" rIns="72000" bIns="36000" rtlCol="0">
            <a:normAutofit/>
          </a:bodyPr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880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320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 err="1"/>
              <a:t>Totalrådgiver</a:t>
            </a:r>
            <a:r>
              <a:rPr lang="en-US" sz="1800" dirty="0"/>
              <a:t>: NIRAS</a:t>
            </a:r>
          </a:p>
          <a:p>
            <a:r>
              <a:rPr lang="en-US" sz="1800" dirty="0" err="1"/>
              <a:t>Bygherrerådgiver</a:t>
            </a:r>
            <a:r>
              <a:rPr lang="en-US" sz="1800" dirty="0"/>
              <a:t>: </a:t>
            </a:r>
            <a:r>
              <a:rPr lang="en-US" sz="1800" dirty="0" err="1"/>
              <a:t>Rambøll</a:t>
            </a:r>
            <a:endParaRPr lang="en-US" sz="1800" dirty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953952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23">
            <a:extLst>
              <a:ext uri="{FF2B5EF4-FFF2-40B4-BE49-F238E27FC236}">
                <a16:creationId xmlns:a16="http://schemas.microsoft.com/office/drawing/2014/main" id="{31634825-C78B-4158-8B7C-97BA5FB39B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399" y="360000"/>
            <a:ext cx="11659812" cy="619713"/>
          </a:xfrm>
        </p:spPr>
        <p:txBody>
          <a:bodyPr anchor="t">
            <a:noAutofit/>
          </a:bodyPr>
          <a:lstStyle/>
          <a:p>
            <a:r>
              <a:rPr lang="da-DK" sz="3700" b="1" dirty="0"/>
              <a:t>Hvornår kunne grundvandssænkningen slukkes </a:t>
            </a:r>
            <a:endParaRPr lang="en-US" sz="3700" b="1" dirty="0"/>
          </a:p>
        </p:txBody>
      </p:sp>
      <p:sp>
        <p:nvSpPr>
          <p:cNvPr id="31" name="Slide Number Placeholder 3">
            <a:extLst>
              <a:ext uri="{FF2B5EF4-FFF2-40B4-BE49-F238E27FC236}">
                <a16:creationId xmlns:a16="http://schemas.microsoft.com/office/drawing/2014/main" id="{EBAB7D44-3C05-A937-A2FF-C477ABDEF6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9600" y="6375818"/>
            <a:ext cx="511868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fld id="{24C8C45C-947F-4981-8B3F-4F32E973C901}" type="slidenum">
              <a:rPr lang="en-GB" smtClean="0"/>
              <a:pPr>
                <a:spcAft>
                  <a:spcPts val="600"/>
                </a:spcAft>
              </a:pPr>
              <a:t>30</a:t>
            </a:fld>
            <a:endParaRPr lang="en-GB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26CD05F-FB19-4499-B143-655B84CA5FD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282103" y="1299528"/>
            <a:ext cx="11819106" cy="1468386"/>
          </a:xfrm>
        </p:spPr>
        <p:txBody>
          <a:bodyPr>
            <a:noAutofit/>
          </a:bodyPr>
          <a:lstStyle/>
          <a:p>
            <a:r>
              <a:rPr lang="da-DK" sz="2000" dirty="0"/>
              <a:t>Regne med vandspejl i kote +2,5 =&gt; grundvandssænkningen kunne først slukkes når råhus var opført</a:t>
            </a:r>
          </a:p>
          <a:p>
            <a:pPr marL="360363" indent="0">
              <a:buNone/>
            </a:pPr>
            <a:r>
              <a:rPr lang="da-DK" dirty="0"/>
              <a:t>- Indregne træk i pæle</a:t>
            </a:r>
          </a:p>
          <a:p>
            <a:r>
              <a:rPr lang="da-DK" sz="2000" dirty="0"/>
              <a:t>Vandspejl i kote +1,0 =&gt; slukke efter kælder var støbt</a:t>
            </a:r>
          </a:p>
          <a:p>
            <a:r>
              <a:rPr lang="da-DK" sz="2000" dirty="0"/>
              <a:t>Risikovurdering</a:t>
            </a:r>
          </a:p>
          <a:p>
            <a:endParaRPr lang="da-DK" sz="2000" dirty="0"/>
          </a:p>
        </p:txBody>
      </p:sp>
    </p:spTree>
    <p:extLst>
      <p:ext uri="{BB962C8B-B14F-4D97-AF65-F5344CB8AC3E}">
        <p14:creationId xmlns:p14="http://schemas.microsoft.com/office/powerpoint/2010/main" val="406063342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23">
            <a:extLst>
              <a:ext uri="{FF2B5EF4-FFF2-40B4-BE49-F238E27FC236}">
                <a16:creationId xmlns:a16="http://schemas.microsoft.com/office/drawing/2014/main" id="{31634825-C78B-4158-8B7C-97BA5FB39B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399" y="360000"/>
            <a:ext cx="11659812" cy="619713"/>
          </a:xfrm>
        </p:spPr>
        <p:txBody>
          <a:bodyPr anchor="t">
            <a:noAutofit/>
          </a:bodyPr>
          <a:lstStyle/>
          <a:p>
            <a:r>
              <a:rPr lang="da-DK" sz="3700" b="1" dirty="0"/>
              <a:t>Hvornår kunne grundvandssænkningen slukkes </a:t>
            </a:r>
            <a:endParaRPr lang="en-US" sz="3700" b="1" dirty="0"/>
          </a:p>
        </p:txBody>
      </p:sp>
      <p:sp>
        <p:nvSpPr>
          <p:cNvPr id="31" name="Slide Number Placeholder 3">
            <a:extLst>
              <a:ext uri="{FF2B5EF4-FFF2-40B4-BE49-F238E27FC236}">
                <a16:creationId xmlns:a16="http://schemas.microsoft.com/office/drawing/2014/main" id="{EBAB7D44-3C05-A937-A2FF-C477ABDEF6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9600" y="6375818"/>
            <a:ext cx="511868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fld id="{24C8C45C-947F-4981-8B3F-4F32E973C901}" type="slidenum">
              <a:rPr lang="en-GB" smtClean="0"/>
              <a:pPr>
                <a:spcAft>
                  <a:spcPts val="600"/>
                </a:spcAft>
              </a:pPr>
              <a:t>31</a:t>
            </a:fld>
            <a:endParaRPr lang="en-GB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26CD05F-FB19-4499-B143-655B84CA5FD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282103" y="1299528"/>
            <a:ext cx="11819106" cy="1468386"/>
          </a:xfrm>
        </p:spPr>
        <p:txBody>
          <a:bodyPr>
            <a:noAutofit/>
          </a:bodyPr>
          <a:lstStyle/>
          <a:p>
            <a:r>
              <a:rPr lang="da-DK" sz="2000" dirty="0"/>
              <a:t>Regne med vandspejl i kote +2,5 =&gt; grundvandssænkningen kunne først slukkes når råhus var opført</a:t>
            </a:r>
          </a:p>
          <a:p>
            <a:pPr marL="360363" indent="0">
              <a:buNone/>
            </a:pPr>
            <a:r>
              <a:rPr lang="da-DK" dirty="0"/>
              <a:t>- Indregne træk i pæle</a:t>
            </a:r>
          </a:p>
          <a:p>
            <a:r>
              <a:rPr lang="da-DK" sz="2000" dirty="0"/>
              <a:t>Vandspejl i kote +1,0 =&gt; slukke efter kælder var støbt</a:t>
            </a:r>
          </a:p>
          <a:p>
            <a:r>
              <a:rPr lang="da-DK" sz="2000" dirty="0"/>
              <a:t>Risikovurdering</a:t>
            </a:r>
          </a:p>
          <a:p>
            <a:endParaRPr lang="da-DK" sz="200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2C2E4FC-658A-412C-B52F-4A1344E8D5CA}"/>
              </a:ext>
            </a:extLst>
          </p:cNvPr>
          <p:cNvPicPr/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38" r="13128" b="37958"/>
          <a:stretch/>
        </p:blipFill>
        <p:spPr bwMode="auto">
          <a:xfrm>
            <a:off x="560173" y="2842054"/>
            <a:ext cx="5704440" cy="3635918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BAF83F9-0158-43C7-AEF9-6777F3C38692}"/>
              </a:ext>
            </a:extLst>
          </p:cNvPr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9304"/>
          <a:stretch/>
        </p:blipFill>
        <p:spPr bwMode="auto">
          <a:xfrm>
            <a:off x="6906641" y="1885179"/>
            <a:ext cx="4792294" cy="3900548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52284103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23">
            <a:extLst>
              <a:ext uri="{FF2B5EF4-FFF2-40B4-BE49-F238E27FC236}">
                <a16:creationId xmlns:a16="http://schemas.microsoft.com/office/drawing/2014/main" id="{31634825-C78B-4158-8B7C-97BA5FB39B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400" y="360000"/>
            <a:ext cx="11473200" cy="619713"/>
          </a:xfrm>
        </p:spPr>
        <p:txBody>
          <a:bodyPr anchor="t">
            <a:normAutofit/>
          </a:bodyPr>
          <a:lstStyle/>
          <a:p>
            <a:r>
              <a:rPr lang="en-US" sz="3700" b="1" dirty="0" err="1"/>
              <a:t>Overordnede</a:t>
            </a:r>
            <a:r>
              <a:rPr lang="en-US" sz="3700" b="1" dirty="0"/>
              <a:t> </a:t>
            </a:r>
            <a:r>
              <a:rPr lang="en-US" sz="3700" b="1" dirty="0" err="1"/>
              <a:t>problemstillinger</a:t>
            </a:r>
            <a:endParaRPr lang="en-US" sz="3700" b="1" dirty="0"/>
          </a:p>
        </p:txBody>
      </p:sp>
      <p:sp>
        <p:nvSpPr>
          <p:cNvPr id="31" name="Slide Number Placeholder 3">
            <a:extLst>
              <a:ext uri="{FF2B5EF4-FFF2-40B4-BE49-F238E27FC236}">
                <a16:creationId xmlns:a16="http://schemas.microsoft.com/office/drawing/2014/main" id="{EBAB7D44-3C05-A937-A2FF-C477ABDEF6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9600" y="6375818"/>
            <a:ext cx="511868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fld id="{24C8C45C-947F-4981-8B3F-4F32E973C901}" type="slidenum">
              <a:rPr lang="en-GB" smtClean="0"/>
              <a:pPr>
                <a:spcAft>
                  <a:spcPts val="600"/>
                </a:spcAft>
              </a:pPr>
              <a:t>32</a:t>
            </a:fld>
            <a:endParaRPr lang="en-GB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587DAD8-CAB8-48A7-B201-66622ECFBBCF}"/>
              </a:ext>
            </a:extLst>
          </p:cNvPr>
          <p:cNvSpPr txBox="1">
            <a:spLocks/>
          </p:cNvSpPr>
          <p:nvPr/>
        </p:nvSpPr>
        <p:spPr>
          <a:xfrm>
            <a:off x="449911" y="3047805"/>
            <a:ext cx="5461000" cy="3121025"/>
          </a:xfrm>
          <a:prstGeom prst="rect">
            <a:avLst/>
          </a:prstGeom>
        </p:spPr>
        <p:txBody>
          <a:bodyPr vert="horz" lIns="72000" tIns="36000" rIns="72000" bIns="36000" rtlCol="0">
            <a:normAutofit/>
          </a:bodyPr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880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320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da-DK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45FA9F2-A28E-41FB-9686-9FE9C8ACA7E4}"/>
              </a:ext>
            </a:extLst>
          </p:cNvPr>
          <p:cNvSpPr txBox="1"/>
          <p:nvPr/>
        </p:nvSpPr>
        <p:spPr>
          <a:xfrm>
            <a:off x="8699236" y="1640396"/>
            <a:ext cx="331997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US" sz="16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F07828C-E04E-4EAF-A8CB-DF80BEA9C394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73881" y="1280011"/>
            <a:ext cx="11790125" cy="4888819"/>
          </a:xfrm>
        </p:spPr>
        <p:txBody>
          <a:bodyPr>
            <a:noAutofit/>
          </a:bodyPr>
          <a:lstStyle/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dledende: Stor opdrift fra vandtryk =&gt; ret mange trækpæle =&gt; eftervisning af gruppevirkning</a:t>
            </a: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ange pæle kunne ikke rammes ned ved prøveramning  =&gt;  udfordringer med trækkapacitet</a:t>
            </a: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nkre &gt;&lt; stålpæle – eller satse på, at betonpæle kunne rammes ned (risikoanalyse)?</a:t>
            </a: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ftervisning af trykkapacitet: Meget varierende jordbundsforhold =&gt; nødvendigt med stort omfang af PDA-målinger. </a:t>
            </a: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Korrigering af bæreevne for ekstra overlejring pga. højere rammeplanum og grundvandssænkning.</a:t>
            </a:r>
            <a:endParaRPr lang="da-DK" sz="17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ange knækkede pæle</a:t>
            </a:r>
            <a:r>
              <a:rPr lang="da-DK" sz="17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</a:t>
            </a: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For hurtig levering? For lidt længdearmering? </a:t>
            </a:r>
            <a:endParaRPr lang="da-DK" sz="17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everanceproblemer: Min. 3 ugers leveringstid =&gt; Ikke muligt med forsøg med større pæle eller pæle med mere længdearmering.</a:t>
            </a:r>
            <a:endParaRPr lang="da-DK" sz="17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tablering af jordankre: Sikring mod opadrettede grundvandsstrømninger fra vandmagasiner i kalken.</a:t>
            </a:r>
            <a:endParaRPr lang="da-DK" sz="17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spcAft>
                <a:spcPts val="400"/>
              </a:spcAft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pdriftsankre tæt på pæle: Skulle pæle eller ankre udføres først for ikke at skade hinanden/få indflydelse på bæreevnen?             </a:t>
            </a:r>
            <a:r>
              <a:rPr lang="da-DK" sz="1700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H</a:t>
            </a: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vor langt skulle pælene stå fra ankrene for at risikoen for skader var acceptable?</a:t>
            </a:r>
            <a:endParaRPr lang="da-DK" sz="17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spcAft>
                <a:spcPts val="400"/>
              </a:spcAft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st af jordankre: Begrænsninger i bundpladens kapacitet =&gt; Der skulle anvendes åg for test af ankre.</a:t>
            </a:r>
            <a:endParaRPr lang="da-DK" sz="17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vornår kunne grundvandssænkningen slukkes for ikke at få opdriftsproblemer under udførelsen?</a:t>
            </a: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spcAft>
                <a:spcPts val="400"/>
              </a:spcAft>
              <a:buFont typeface="+mj-lt"/>
              <a:buAutoNum type="arabicParenR"/>
            </a:pPr>
            <a:r>
              <a:rPr lang="da-DK" sz="1700" dirty="0">
                <a:solidFill>
                  <a:srgbClr val="FF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Generelt: Ingen 100% sikre løsninger =&gt; Inddragelse af bygherre i valg på baggrund af opstilling af risikobillede.</a:t>
            </a:r>
            <a:endParaRPr lang="da-DK" sz="1700" dirty="0">
              <a:solidFill>
                <a:srgbClr val="FF0000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spcAft>
                <a:spcPts val="800"/>
              </a:spcAft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tram tidsplan =&gt; træffe hurtige beslutninger om valg af løsninger.</a:t>
            </a:r>
            <a:endParaRPr lang="da-DK" sz="17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096861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23">
            <a:extLst>
              <a:ext uri="{FF2B5EF4-FFF2-40B4-BE49-F238E27FC236}">
                <a16:creationId xmlns:a16="http://schemas.microsoft.com/office/drawing/2014/main" id="{31634825-C78B-4158-8B7C-97BA5FB39B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400" y="360000"/>
            <a:ext cx="11473200" cy="619713"/>
          </a:xfrm>
        </p:spPr>
        <p:txBody>
          <a:bodyPr anchor="t">
            <a:normAutofit/>
          </a:bodyPr>
          <a:lstStyle/>
          <a:p>
            <a:r>
              <a:rPr lang="en-US" sz="3700" b="1" dirty="0" err="1"/>
              <a:t>Overordnede</a:t>
            </a:r>
            <a:r>
              <a:rPr lang="en-US" sz="3700" b="1" dirty="0"/>
              <a:t> </a:t>
            </a:r>
            <a:r>
              <a:rPr lang="en-US" sz="3700" b="1" dirty="0" err="1"/>
              <a:t>problemstillinger</a:t>
            </a:r>
            <a:endParaRPr lang="en-US" sz="3700" b="1" dirty="0"/>
          </a:p>
        </p:txBody>
      </p:sp>
      <p:sp>
        <p:nvSpPr>
          <p:cNvPr id="31" name="Slide Number Placeholder 3">
            <a:extLst>
              <a:ext uri="{FF2B5EF4-FFF2-40B4-BE49-F238E27FC236}">
                <a16:creationId xmlns:a16="http://schemas.microsoft.com/office/drawing/2014/main" id="{EBAB7D44-3C05-A937-A2FF-C477ABDEF6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9600" y="6375818"/>
            <a:ext cx="511868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fld id="{24C8C45C-947F-4981-8B3F-4F32E973C901}" type="slidenum">
              <a:rPr lang="en-GB" smtClean="0"/>
              <a:pPr>
                <a:spcAft>
                  <a:spcPts val="600"/>
                </a:spcAft>
              </a:pPr>
              <a:t>33</a:t>
            </a:fld>
            <a:endParaRPr lang="en-GB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587DAD8-CAB8-48A7-B201-66622ECFBBCF}"/>
              </a:ext>
            </a:extLst>
          </p:cNvPr>
          <p:cNvSpPr txBox="1">
            <a:spLocks/>
          </p:cNvSpPr>
          <p:nvPr/>
        </p:nvSpPr>
        <p:spPr>
          <a:xfrm>
            <a:off x="449911" y="3047805"/>
            <a:ext cx="5461000" cy="3121025"/>
          </a:xfrm>
          <a:prstGeom prst="rect">
            <a:avLst/>
          </a:prstGeom>
        </p:spPr>
        <p:txBody>
          <a:bodyPr vert="horz" lIns="72000" tIns="36000" rIns="72000" bIns="36000" rtlCol="0">
            <a:normAutofit/>
          </a:bodyPr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880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320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da-DK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45FA9F2-A28E-41FB-9686-9FE9C8ACA7E4}"/>
              </a:ext>
            </a:extLst>
          </p:cNvPr>
          <p:cNvSpPr txBox="1"/>
          <p:nvPr/>
        </p:nvSpPr>
        <p:spPr>
          <a:xfrm>
            <a:off x="8699236" y="1640396"/>
            <a:ext cx="331997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US" sz="16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F07828C-E04E-4EAF-A8CB-DF80BEA9C394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73881" y="1280011"/>
            <a:ext cx="11790125" cy="4888819"/>
          </a:xfrm>
        </p:spPr>
        <p:txBody>
          <a:bodyPr>
            <a:noAutofit/>
          </a:bodyPr>
          <a:lstStyle/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dledende: Stor opdrift fra vandtryk =&gt; ret mange trækpæle =&gt; eftervisning af gruppevirkning</a:t>
            </a: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ange pæle kunne ikke rammes ned ved prøveramning  =&gt;  udfordringer med trækkapacitet</a:t>
            </a: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nkre &gt;&lt; stålpæle – eller satse på, at betonpæle kunne rammes ned (risikoanalyse)?</a:t>
            </a: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ftervisning af trykkapacitet: Meget varierende jordbundsforhold =&gt; nødvendigt med stort omfang af PDA-målinger. </a:t>
            </a: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Korrigering af bæreevne for ekstra overlejring pga. højere rammeplanum og grundvandssænkning.</a:t>
            </a:r>
            <a:endParaRPr lang="da-DK" sz="17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ange knækkede pæle</a:t>
            </a:r>
            <a:r>
              <a:rPr lang="da-DK" sz="17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</a:t>
            </a: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For hurtig levering? For lidt længdearmering? </a:t>
            </a:r>
            <a:endParaRPr lang="da-DK" sz="17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everanceproblemer: Min. 3 ugers leveringstid =&gt; Ikke muligt med forsøg med større pæle eller pæle med mere længdearmering.</a:t>
            </a:r>
            <a:endParaRPr lang="da-DK" sz="17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tablering af jordankre: Sikring mod opadrettede grundvandsstrømninger fra vandmagasiner i kalken.</a:t>
            </a:r>
            <a:endParaRPr lang="da-DK" sz="17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spcAft>
                <a:spcPts val="400"/>
              </a:spcAft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pdriftsankre tæt på pæle: Skulle pæle eller ankre udføres først for ikke at skade hinanden/få indflydelse på bæreevnen?             </a:t>
            </a:r>
            <a:r>
              <a:rPr lang="da-DK" sz="1700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H</a:t>
            </a: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vor langt skulle pælene stå fra ankrene for at risikoen for skader var acceptable?</a:t>
            </a:r>
            <a:endParaRPr lang="da-DK" sz="17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spcAft>
                <a:spcPts val="400"/>
              </a:spcAft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st af jordankre: Begrænsninger i bundpladens kapacitet =&gt; Der skulle anvendes åg for test af ankre.</a:t>
            </a:r>
            <a:endParaRPr lang="da-DK" sz="17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vornår kunne grundvandssænkningen slukkes for ikke at få opdriftsproblemer under udførelsen?</a:t>
            </a: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spcAft>
                <a:spcPts val="400"/>
              </a:spcAft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Generelt: Ingen 100% sikre løsninger =&gt; Inddragelse af bygherre i valg på baggrund af opstilling af risikobillede.</a:t>
            </a:r>
            <a:endParaRPr lang="da-DK" sz="17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spcAft>
                <a:spcPts val="800"/>
              </a:spcAft>
              <a:buFont typeface="+mj-lt"/>
              <a:buAutoNum type="arabicParenR"/>
            </a:pPr>
            <a:r>
              <a:rPr lang="da-DK" sz="1700" dirty="0">
                <a:solidFill>
                  <a:srgbClr val="FF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tram tidsplan =&gt; træffe hurtige beslutninger om valg af løsninger.</a:t>
            </a:r>
            <a:endParaRPr lang="da-DK" sz="1700" dirty="0">
              <a:solidFill>
                <a:srgbClr val="FF0000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784046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23">
            <a:extLst>
              <a:ext uri="{FF2B5EF4-FFF2-40B4-BE49-F238E27FC236}">
                <a16:creationId xmlns:a16="http://schemas.microsoft.com/office/drawing/2014/main" id="{31634825-C78B-4158-8B7C-97BA5FB39B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399" y="360000"/>
            <a:ext cx="11659812" cy="619713"/>
          </a:xfrm>
        </p:spPr>
        <p:txBody>
          <a:bodyPr anchor="t">
            <a:noAutofit/>
          </a:bodyPr>
          <a:lstStyle/>
          <a:p>
            <a:r>
              <a:rPr lang="da-DK" sz="3700" b="1" dirty="0"/>
              <a:t>Hvad har vi lært?</a:t>
            </a:r>
            <a:endParaRPr lang="en-US" sz="3700" b="1" dirty="0"/>
          </a:p>
        </p:txBody>
      </p:sp>
      <p:sp>
        <p:nvSpPr>
          <p:cNvPr id="31" name="Slide Number Placeholder 3">
            <a:extLst>
              <a:ext uri="{FF2B5EF4-FFF2-40B4-BE49-F238E27FC236}">
                <a16:creationId xmlns:a16="http://schemas.microsoft.com/office/drawing/2014/main" id="{EBAB7D44-3C05-A937-A2FF-C477ABDEF6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9600" y="6375818"/>
            <a:ext cx="511868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fld id="{24C8C45C-947F-4981-8B3F-4F32E973C901}" type="slidenum">
              <a:rPr lang="en-GB" smtClean="0"/>
              <a:pPr>
                <a:spcAft>
                  <a:spcPts val="600"/>
                </a:spcAft>
              </a:pPr>
              <a:t>34</a:t>
            </a:fld>
            <a:endParaRPr lang="en-GB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F3E39EF-BEFF-4260-B4D4-7F90B4628505}"/>
              </a:ext>
            </a:extLst>
          </p:cNvPr>
          <p:cNvSpPr txBox="1"/>
          <p:nvPr/>
        </p:nvSpPr>
        <p:spPr>
          <a:xfrm>
            <a:off x="641467" y="1770995"/>
            <a:ext cx="9458121" cy="235449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0" indent="-285750">
              <a:lnSpc>
                <a:spcPct val="90000"/>
              </a:lnSpc>
              <a:spcBef>
                <a:spcPts val="1000"/>
              </a:spcBef>
              <a:spcAft>
                <a:spcPts val="2000"/>
              </a:spcAft>
              <a:buFont typeface="Arial" panose="020B0604020202020204" pitchFamily="34" charset="0"/>
              <a:buChar char="•"/>
            </a:pPr>
            <a:r>
              <a:rPr lang="da-DK" sz="2000" dirty="0"/>
              <a:t>En masse teknisk viden – især praktisk – som kan bruges i andre projekter</a:t>
            </a:r>
          </a:p>
          <a:p>
            <a:pPr marL="285750" lvl="0" indent="-285750">
              <a:lnSpc>
                <a:spcPct val="90000"/>
              </a:lnSpc>
              <a:spcBef>
                <a:spcPts val="1000"/>
              </a:spcBef>
              <a:spcAft>
                <a:spcPts val="2000"/>
              </a:spcAft>
              <a:buFont typeface="Arial" panose="020B0604020202020204" pitchFamily="34" charset="0"/>
              <a:buChar char="•"/>
            </a:pPr>
            <a:r>
              <a:rPr lang="da-DK" sz="2000" dirty="0"/>
              <a:t>Brug tid på granskning af funderingsprojektet i god tid</a:t>
            </a:r>
          </a:p>
          <a:p>
            <a:pPr marL="285750" lvl="0" indent="-285750">
              <a:lnSpc>
                <a:spcPct val="90000"/>
              </a:lnSpc>
              <a:spcBef>
                <a:spcPts val="1000"/>
              </a:spcBef>
              <a:spcAft>
                <a:spcPts val="2000"/>
              </a:spcAft>
              <a:buFont typeface="Arial" panose="020B0604020202020204" pitchFamily="34" charset="0"/>
              <a:buChar char="•"/>
            </a:pPr>
            <a:r>
              <a:rPr lang="da-DK" sz="2000" dirty="0"/>
              <a:t>Involver gode kompetence , når du står overfor svære problemstillinger</a:t>
            </a:r>
          </a:p>
          <a:p>
            <a:pPr marL="285750" lvl="0" indent="-285750">
              <a:lnSpc>
                <a:spcPct val="90000"/>
              </a:lnSpc>
              <a:spcBef>
                <a:spcPts val="1000"/>
              </a:spcBef>
              <a:spcAft>
                <a:spcPts val="2000"/>
              </a:spcAft>
              <a:buFont typeface="Arial" panose="020B0604020202020204" pitchFamily="34" charset="0"/>
              <a:buChar char="•"/>
            </a:pPr>
            <a:r>
              <a:rPr lang="da-DK" sz="2000" dirty="0"/>
              <a:t>Involver bygherre, når der skal løbes en risiko og træffes svære valg</a:t>
            </a:r>
          </a:p>
        </p:txBody>
      </p:sp>
    </p:spTree>
    <p:extLst>
      <p:ext uri="{BB962C8B-B14F-4D97-AF65-F5344CB8AC3E}">
        <p14:creationId xmlns:p14="http://schemas.microsoft.com/office/powerpoint/2010/main" val="2987647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40F3A4C7-68E5-4966-85AA-174ADDB7E77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873439" y="2114096"/>
            <a:ext cx="6709099" cy="1968047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8000" dirty="0" err="1"/>
              <a:t>Tak</a:t>
            </a:r>
            <a:r>
              <a:rPr lang="en-US" sz="8000" dirty="0"/>
              <a:t> for </a:t>
            </a:r>
            <a:r>
              <a:rPr lang="en-US" sz="8000" dirty="0" err="1"/>
              <a:t>ordet</a:t>
            </a:r>
            <a:endParaRPr lang="en-US" sz="80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FF18D7C-F15B-4747-B440-B954D7A2F8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3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7554622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40F3A4C7-68E5-4966-85AA-174ADDB7E77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873439" y="2114096"/>
            <a:ext cx="6709099" cy="1968047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8000" dirty="0" err="1"/>
              <a:t>Spørgsmål</a:t>
            </a:r>
            <a:r>
              <a:rPr lang="en-US" sz="8000" dirty="0"/>
              <a:t>?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FF18D7C-F15B-4747-B440-B954D7A2F8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3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1635533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23">
            <a:extLst>
              <a:ext uri="{FF2B5EF4-FFF2-40B4-BE49-F238E27FC236}">
                <a16:creationId xmlns:a16="http://schemas.microsoft.com/office/drawing/2014/main" id="{31634825-C78B-4158-8B7C-97BA5FB39B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Bonus-slide: Teaser </a:t>
            </a:r>
            <a:r>
              <a:rPr lang="en-US" b="1" dirty="0" err="1"/>
              <a:t>til</a:t>
            </a:r>
            <a:r>
              <a:rPr lang="en-US" b="1" dirty="0"/>
              <a:t> </a:t>
            </a:r>
            <a:r>
              <a:rPr lang="en-US" b="1" dirty="0" err="1"/>
              <a:t>muligt</a:t>
            </a:r>
            <a:r>
              <a:rPr lang="en-US" b="1" dirty="0"/>
              <a:t> </a:t>
            </a:r>
            <a:r>
              <a:rPr lang="en-US" b="1" dirty="0" err="1"/>
              <a:t>indlæg</a:t>
            </a:r>
            <a:r>
              <a:rPr lang="en-US" b="1" dirty="0"/>
              <a:t> </a:t>
            </a:r>
            <a:r>
              <a:rPr lang="en-US" b="1" dirty="0" err="1"/>
              <a:t>senere</a:t>
            </a:r>
            <a:endParaRPr lang="en-US" b="1" dirty="0"/>
          </a:p>
        </p:txBody>
      </p:sp>
      <p:sp>
        <p:nvSpPr>
          <p:cNvPr id="25" name="Subtitle 24">
            <a:extLst>
              <a:ext uri="{FF2B5EF4-FFF2-40B4-BE49-F238E27FC236}">
                <a16:creationId xmlns:a16="http://schemas.microsoft.com/office/drawing/2014/main" id="{B3DDE5AD-201B-41FE-A348-21CE14D20A5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56096629-D40F-426F-85E5-D6C852675A11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71400" y="1512270"/>
            <a:ext cx="5461200" cy="4647600"/>
          </a:xfrm>
        </p:spPr>
        <p:txBody>
          <a:bodyPr/>
          <a:lstStyle/>
          <a:p>
            <a:endParaRPr lang="en-US"/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40F3A4C7-68E5-4966-85AA-174ADDB7E77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8150" y="1512271"/>
            <a:ext cx="5461200" cy="4647600"/>
          </a:xfrm>
        </p:spPr>
        <p:txBody>
          <a:bodyPr/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FF18D7C-F15B-4747-B440-B954D7A2F8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3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20842595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23">
            <a:extLst>
              <a:ext uri="{FF2B5EF4-FFF2-40B4-BE49-F238E27FC236}">
                <a16:creationId xmlns:a16="http://schemas.microsoft.com/office/drawing/2014/main" id="{31634825-C78B-4158-8B7C-97BA5FB39B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Bonus-slide: Teaser </a:t>
            </a:r>
            <a:r>
              <a:rPr lang="en-US" b="1" dirty="0" err="1"/>
              <a:t>til</a:t>
            </a:r>
            <a:r>
              <a:rPr lang="en-US" b="1" dirty="0"/>
              <a:t> </a:t>
            </a:r>
            <a:r>
              <a:rPr lang="en-US" b="1" dirty="0" err="1"/>
              <a:t>muligt</a:t>
            </a:r>
            <a:r>
              <a:rPr lang="en-US" b="1" dirty="0"/>
              <a:t> </a:t>
            </a:r>
            <a:r>
              <a:rPr lang="en-US" b="1" dirty="0" err="1"/>
              <a:t>indlæg</a:t>
            </a:r>
            <a:r>
              <a:rPr lang="en-US" b="1" dirty="0"/>
              <a:t> </a:t>
            </a:r>
            <a:r>
              <a:rPr lang="en-US" b="1" dirty="0" err="1"/>
              <a:t>senere</a:t>
            </a:r>
            <a:endParaRPr lang="en-US" b="1" dirty="0"/>
          </a:p>
        </p:txBody>
      </p:sp>
      <p:sp>
        <p:nvSpPr>
          <p:cNvPr id="25" name="Subtitle 24">
            <a:extLst>
              <a:ext uri="{FF2B5EF4-FFF2-40B4-BE49-F238E27FC236}">
                <a16:creationId xmlns:a16="http://schemas.microsoft.com/office/drawing/2014/main" id="{B3DDE5AD-201B-41FE-A348-21CE14D20A5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- Scanning af </a:t>
            </a:r>
            <a:r>
              <a:rPr lang="en-US" dirty="0" err="1"/>
              <a:t>kollapset</a:t>
            </a:r>
            <a:r>
              <a:rPr lang="en-US" dirty="0"/>
              <a:t> </a:t>
            </a:r>
            <a:r>
              <a:rPr lang="en-US" dirty="0" err="1"/>
              <a:t>spuns</a:t>
            </a:r>
            <a:endParaRPr lang="en-US" dirty="0"/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ADE88556-C45E-4A8F-8202-D90B268F2345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/>
          <a:stretch>
            <a:fillRect/>
          </a:stretch>
        </p:blipFill>
        <p:spPr>
          <a:xfrm>
            <a:off x="2257593" y="1392366"/>
            <a:ext cx="5239576" cy="5105633"/>
          </a:xfr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FF18D7C-F15B-4747-B440-B954D7A2F8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3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577937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23">
            <a:extLst>
              <a:ext uri="{FF2B5EF4-FFF2-40B4-BE49-F238E27FC236}">
                <a16:creationId xmlns:a16="http://schemas.microsoft.com/office/drawing/2014/main" id="{31634825-C78B-4158-8B7C-97BA5FB39B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700" b="1" dirty="0" err="1"/>
              <a:t>Projektet</a:t>
            </a:r>
            <a:r>
              <a:rPr lang="en-US" sz="3700" b="1" dirty="0"/>
              <a:t> - </a:t>
            </a:r>
            <a:r>
              <a:rPr lang="en-US" sz="3700" b="1" dirty="0" err="1"/>
              <a:t>mængder</a:t>
            </a:r>
            <a:endParaRPr lang="en-US" sz="3700" b="1" dirty="0"/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40F3A4C7-68E5-4966-85AA-174ADDB7E77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29600" y="1466532"/>
            <a:ext cx="9135698" cy="4909286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/>
              <a:t>3.04: </a:t>
            </a:r>
          </a:p>
          <a:p>
            <a:r>
              <a:rPr lang="en-US" dirty="0"/>
              <a:t>537 stk. 30 x 30 </a:t>
            </a:r>
            <a:r>
              <a:rPr lang="en-US" dirty="0" err="1"/>
              <a:t>betonpæle</a:t>
            </a:r>
            <a:r>
              <a:rPr lang="en-US" dirty="0"/>
              <a:t>, L = 11-16 m. 9 stk. PDA-malinger med CAPWAP</a:t>
            </a:r>
          </a:p>
          <a:p>
            <a:r>
              <a:rPr lang="en-US" dirty="0"/>
              <a:t>50 stk. </a:t>
            </a:r>
            <a:r>
              <a:rPr lang="en-US" dirty="0" err="1"/>
              <a:t>opdriftsankre</a:t>
            </a:r>
            <a:r>
              <a:rPr lang="en-US" dirty="0"/>
              <a:t>, Ø63,5 mm, L = ca. 24 m, 10 m </a:t>
            </a:r>
            <a:r>
              <a:rPr lang="en-US" dirty="0" err="1"/>
              <a:t>injektionszone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kalken</a:t>
            </a:r>
            <a:endParaRPr lang="en-US" dirty="0"/>
          </a:p>
          <a:p>
            <a:pPr marL="567450" lvl="2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sz="2000" dirty="0"/>
              <a:t>3.06: </a:t>
            </a:r>
          </a:p>
          <a:p>
            <a:r>
              <a:rPr lang="en-US" dirty="0"/>
              <a:t>759 stk. 30 x 30 </a:t>
            </a:r>
            <a:r>
              <a:rPr lang="en-US" dirty="0" err="1"/>
              <a:t>betonpæle</a:t>
            </a:r>
            <a:r>
              <a:rPr lang="en-US" dirty="0"/>
              <a:t>, L = 13-18 m. 25 stk. PDA-malinger med CAPWAP</a:t>
            </a:r>
          </a:p>
          <a:p>
            <a:r>
              <a:rPr lang="en-US" dirty="0"/>
              <a:t>62 stk. </a:t>
            </a:r>
            <a:r>
              <a:rPr lang="en-US" dirty="0" err="1"/>
              <a:t>opdriftsankre</a:t>
            </a:r>
            <a:r>
              <a:rPr lang="en-US" dirty="0"/>
              <a:t>, Ø63,5 mm, L = ca. 24 m, 10 m </a:t>
            </a:r>
            <a:r>
              <a:rPr lang="en-US" dirty="0" err="1"/>
              <a:t>injektionszone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kalken</a:t>
            </a:r>
            <a:endParaRPr lang="en-US" dirty="0"/>
          </a:p>
          <a:p>
            <a:pPr marL="567450" lvl="2" indent="0">
              <a:buNone/>
            </a:pPr>
            <a:endParaRPr lang="en-US" sz="2200" dirty="0"/>
          </a:p>
          <a:p>
            <a:pPr marL="285750" lvl="2">
              <a:spcBef>
                <a:spcPts val="1000"/>
              </a:spcBef>
            </a:pPr>
            <a:r>
              <a:rPr lang="en-US" sz="2400" dirty="0"/>
              <a:t>Ca. 1300 </a:t>
            </a:r>
            <a:r>
              <a:rPr lang="en-US" sz="2400" dirty="0" err="1"/>
              <a:t>pæle</a:t>
            </a:r>
            <a:endParaRPr lang="en-US" sz="2400" dirty="0"/>
          </a:p>
          <a:p>
            <a:pPr marL="285750" lvl="2">
              <a:spcBef>
                <a:spcPts val="1000"/>
              </a:spcBef>
            </a:pPr>
            <a:r>
              <a:rPr lang="en-US" sz="2400" dirty="0"/>
              <a:t>Ca. 35 PDA-</a:t>
            </a:r>
            <a:r>
              <a:rPr lang="en-US" sz="2400" dirty="0" err="1"/>
              <a:t>målinger</a:t>
            </a:r>
            <a:endParaRPr lang="en-US" sz="2400" dirty="0"/>
          </a:p>
          <a:p>
            <a:pPr marL="285750" lvl="2">
              <a:spcBef>
                <a:spcPts val="1000"/>
              </a:spcBef>
            </a:pPr>
            <a:r>
              <a:rPr lang="en-US" sz="2400" dirty="0"/>
              <a:t>Ca. 110 </a:t>
            </a:r>
            <a:r>
              <a:rPr lang="en-US" sz="2400" dirty="0" err="1"/>
              <a:t>opdriftsankre</a:t>
            </a:r>
            <a:endParaRPr lang="en-US" sz="2400" dirty="0"/>
          </a:p>
          <a:p>
            <a:pPr marL="285750" lvl="2">
              <a:spcBef>
                <a:spcPts val="1000"/>
              </a:spcBef>
            </a:pPr>
            <a:r>
              <a:rPr lang="en-US" sz="2400" dirty="0"/>
              <a:t>3 </a:t>
            </a:r>
            <a:r>
              <a:rPr lang="en-US" sz="2400" dirty="0" err="1"/>
              <a:t>rammemaskiner</a:t>
            </a:r>
            <a:r>
              <a:rPr lang="en-US" sz="2400" dirty="0"/>
              <a:t> </a:t>
            </a:r>
            <a:r>
              <a:rPr lang="en-US" sz="2400" dirty="0" err="1"/>
              <a:t>igang</a:t>
            </a:r>
            <a:r>
              <a:rPr lang="en-US" sz="2400" dirty="0"/>
              <a:t> </a:t>
            </a:r>
            <a:r>
              <a:rPr lang="en-US" sz="2400" dirty="0" err="1"/>
              <a:t>samtidig</a:t>
            </a:r>
            <a:r>
              <a:rPr lang="en-US" sz="2400" dirty="0"/>
              <a:t> </a:t>
            </a:r>
          </a:p>
          <a:p>
            <a:pPr marL="0" lvl="2" indent="0">
              <a:buNone/>
            </a:pPr>
            <a:endParaRPr lang="en-US" sz="2000" dirty="0"/>
          </a:p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E3592AE-3E0E-4CC6-B7B1-3A7DBC7749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4</a:t>
            </a:fld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FAC01F8-7EAD-427E-8641-421AF392FBAA}"/>
              </a:ext>
            </a:extLst>
          </p:cNvPr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317" t="3797" r="9233"/>
          <a:stretch/>
        </p:blipFill>
        <p:spPr bwMode="auto">
          <a:xfrm>
            <a:off x="9181322" y="1754857"/>
            <a:ext cx="2881077" cy="4509573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97766366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23">
            <a:extLst>
              <a:ext uri="{FF2B5EF4-FFF2-40B4-BE49-F238E27FC236}">
                <a16:creationId xmlns:a16="http://schemas.microsoft.com/office/drawing/2014/main" id="{31634825-C78B-4158-8B7C-97BA5FB39B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400" y="360000"/>
            <a:ext cx="11473200" cy="619713"/>
          </a:xfrm>
        </p:spPr>
        <p:txBody>
          <a:bodyPr anchor="t">
            <a:normAutofit/>
          </a:bodyPr>
          <a:lstStyle/>
          <a:p>
            <a:r>
              <a:rPr lang="en-US" sz="3700" b="1" dirty="0" err="1"/>
              <a:t>Geoteknik</a:t>
            </a:r>
            <a:endParaRPr lang="en-US" sz="3700" b="1" dirty="0"/>
          </a:p>
        </p:txBody>
      </p:sp>
      <p:sp>
        <p:nvSpPr>
          <p:cNvPr id="31" name="Slide Number Placeholder 3">
            <a:extLst>
              <a:ext uri="{FF2B5EF4-FFF2-40B4-BE49-F238E27FC236}">
                <a16:creationId xmlns:a16="http://schemas.microsoft.com/office/drawing/2014/main" id="{EBAB7D44-3C05-A937-A2FF-C477ABDEF6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9600" y="6375818"/>
            <a:ext cx="511868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fld id="{24C8C45C-947F-4981-8B3F-4F32E973C901}" type="slidenum">
              <a:rPr lang="en-GB" smtClean="0"/>
              <a:pPr>
                <a:spcAft>
                  <a:spcPts val="600"/>
                </a:spcAft>
              </a:pPr>
              <a:t>5</a:t>
            </a:fld>
            <a:endParaRPr lang="en-GB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587DAD8-CAB8-48A7-B201-66622ECFBBCF}"/>
              </a:ext>
            </a:extLst>
          </p:cNvPr>
          <p:cNvSpPr txBox="1">
            <a:spLocks/>
          </p:cNvSpPr>
          <p:nvPr/>
        </p:nvSpPr>
        <p:spPr>
          <a:xfrm>
            <a:off x="449911" y="3047805"/>
            <a:ext cx="5461000" cy="3121025"/>
          </a:xfrm>
          <a:prstGeom prst="rect">
            <a:avLst/>
          </a:prstGeom>
        </p:spPr>
        <p:txBody>
          <a:bodyPr vert="horz" lIns="72000" tIns="36000" rIns="72000" bIns="36000" rtlCol="0">
            <a:normAutofit/>
          </a:bodyPr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880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320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da-DK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45FA9F2-A28E-41FB-9686-9FE9C8ACA7E4}"/>
              </a:ext>
            </a:extLst>
          </p:cNvPr>
          <p:cNvSpPr txBox="1"/>
          <p:nvPr/>
        </p:nvSpPr>
        <p:spPr>
          <a:xfrm>
            <a:off x="8699236" y="1640396"/>
            <a:ext cx="331997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US" sz="1600" dirty="0"/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2D7980D1-B7D2-40BC-9925-463766CF1AE9}"/>
              </a:ext>
            </a:extLst>
          </p:cNvPr>
          <p:cNvPicPr>
            <a:picLocks noGrp="1" noChangeAspect="1"/>
          </p:cNvPicPr>
          <p:nvPr>
            <p:ph idx="13"/>
          </p:nvPr>
        </p:nvPicPr>
        <p:blipFill>
          <a:blip r:embed="rId2"/>
          <a:stretch>
            <a:fillRect/>
          </a:stretch>
        </p:blipFill>
        <p:spPr>
          <a:xfrm>
            <a:off x="268890" y="1135901"/>
            <a:ext cx="5094630" cy="5191364"/>
          </a:xfrm>
        </p:spPr>
      </p:pic>
      <p:pic>
        <p:nvPicPr>
          <p:cNvPr id="14" name="Content Placeholder 13">
            <a:extLst>
              <a:ext uri="{FF2B5EF4-FFF2-40B4-BE49-F238E27FC236}">
                <a16:creationId xmlns:a16="http://schemas.microsoft.com/office/drawing/2014/main" id="{1616ABD4-FDE2-4FA5-B334-F26A7EEE9C13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3"/>
          <a:stretch>
            <a:fillRect/>
          </a:stretch>
        </p:blipFill>
        <p:spPr>
          <a:xfrm>
            <a:off x="5673897" y="1133654"/>
            <a:ext cx="5340658" cy="5191364"/>
          </a:xfrm>
        </p:spPr>
      </p:pic>
    </p:spTree>
    <p:extLst>
      <p:ext uri="{BB962C8B-B14F-4D97-AF65-F5344CB8AC3E}">
        <p14:creationId xmlns:p14="http://schemas.microsoft.com/office/powerpoint/2010/main" val="278563387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23">
            <a:extLst>
              <a:ext uri="{FF2B5EF4-FFF2-40B4-BE49-F238E27FC236}">
                <a16:creationId xmlns:a16="http://schemas.microsoft.com/office/drawing/2014/main" id="{31634825-C78B-4158-8B7C-97BA5FB39B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400" y="360000"/>
            <a:ext cx="11473200" cy="619713"/>
          </a:xfrm>
        </p:spPr>
        <p:txBody>
          <a:bodyPr anchor="t">
            <a:normAutofit/>
          </a:bodyPr>
          <a:lstStyle/>
          <a:p>
            <a:r>
              <a:rPr lang="en-US" sz="3700" b="1" dirty="0" err="1"/>
              <a:t>Overordnede</a:t>
            </a:r>
            <a:r>
              <a:rPr lang="en-US" sz="3700" b="1" dirty="0"/>
              <a:t> </a:t>
            </a:r>
            <a:r>
              <a:rPr lang="en-US" sz="3700" b="1" dirty="0" err="1"/>
              <a:t>problemstillinger</a:t>
            </a:r>
            <a:endParaRPr lang="en-US" sz="3700" b="1" dirty="0"/>
          </a:p>
        </p:txBody>
      </p:sp>
      <p:sp>
        <p:nvSpPr>
          <p:cNvPr id="31" name="Slide Number Placeholder 3">
            <a:extLst>
              <a:ext uri="{FF2B5EF4-FFF2-40B4-BE49-F238E27FC236}">
                <a16:creationId xmlns:a16="http://schemas.microsoft.com/office/drawing/2014/main" id="{EBAB7D44-3C05-A937-A2FF-C477ABDEF6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9600" y="6375818"/>
            <a:ext cx="511868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fld id="{24C8C45C-947F-4981-8B3F-4F32E973C901}" type="slidenum">
              <a:rPr lang="en-GB" smtClean="0"/>
              <a:pPr>
                <a:spcAft>
                  <a:spcPts val="600"/>
                </a:spcAft>
              </a:pPr>
              <a:t>6</a:t>
            </a:fld>
            <a:endParaRPr lang="en-GB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587DAD8-CAB8-48A7-B201-66622ECFBBCF}"/>
              </a:ext>
            </a:extLst>
          </p:cNvPr>
          <p:cNvSpPr txBox="1">
            <a:spLocks/>
          </p:cNvSpPr>
          <p:nvPr/>
        </p:nvSpPr>
        <p:spPr>
          <a:xfrm>
            <a:off x="449911" y="3047805"/>
            <a:ext cx="5461000" cy="3121025"/>
          </a:xfrm>
          <a:prstGeom prst="rect">
            <a:avLst/>
          </a:prstGeom>
        </p:spPr>
        <p:txBody>
          <a:bodyPr vert="horz" lIns="72000" tIns="36000" rIns="72000" bIns="36000" rtlCol="0">
            <a:normAutofit/>
          </a:bodyPr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880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320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da-DK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45FA9F2-A28E-41FB-9686-9FE9C8ACA7E4}"/>
              </a:ext>
            </a:extLst>
          </p:cNvPr>
          <p:cNvSpPr txBox="1"/>
          <p:nvPr/>
        </p:nvSpPr>
        <p:spPr>
          <a:xfrm>
            <a:off x="8699236" y="1640396"/>
            <a:ext cx="331997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US" sz="16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F07828C-E04E-4EAF-A8CB-DF80BEA9C394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73881" y="1280011"/>
            <a:ext cx="11790125" cy="4888819"/>
          </a:xfrm>
        </p:spPr>
        <p:txBody>
          <a:bodyPr>
            <a:noAutofit/>
          </a:bodyPr>
          <a:lstStyle/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dledende: Stor opdrift fra vandtryk =&gt; ret mange trækpæle =&gt; eftervisning af gruppevirkning</a:t>
            </a: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ange pæle kunne ikke rammes ned ved prøveramning  =&gt;  udfordringer med trækkapacitet</a:t>
            </a: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nkre &gt;&lt; stålpæle – eller satse på, at betonpæle kunne rammes ned (risikoanalyse)?</a:t>
            </a: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ftervisning af trykkapacitet: Meget varierende jordbundsforhold =&gt; nødvendigt med stort omfang af PDA-målinger. </a:t>
            </a: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Korrigering af bæreevne for ekstra overlejring pga. højere rammeplanum og grundvandssænkning.</a:t>
            </a:r>
            <a:endParaRPr lang="da-DK" sz="17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ange knækkede pæle</a:t>
            </a:r>
            <a:r>
              <a:rPr lang="da-DK" sz="17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</a:t>
            </a: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For hurtig levering? For lidt længdearmering? </a:t>
            </a:r>
            <a:endParaRPr lang="da-DK" sz="17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everanceproblemer: Min. 3 ugers leveringstid =&gt; Ikke muligt med forsøg med større pæle eller pæle med mere længdearmering.</a:t>
            </a:r>
            <a:endParaRPr lang="da-DK" sz="17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tablering af jordankre: Sikring mod opadrettede grundvandsstrømninger fra vandmagasiner i kalken.</a:t>
            </a:r>
            <a:endParaRPr lang="da-DK" sz="17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spcAft>
                <a:spcPts val="400"/>
              </a:spcAft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pdriftsankre tæt på pæle: Skulle pæle eller ankre udføres først for ikke at skade hinanden/få indflydelse på bæreevnen?             </a:t>
            </a:r>
            <a:r>
              <a:rPr lang="da-DK" sz="1700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H</a:t>
            </a: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vor langt skulle pælene stå fra ankrene for at risikoen for skader var acceptable?</a:t>
            </a:r>
            <a:endParaRPr lang="da-DK" sz="17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spcAft>
                <a:spcPts val="400"/>
              </a:spcAft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st af jordankre: Begrænsninger i bundpladens kapacitet =&gt; Der skulle anvendes åg for test af ankre.</a:t>
            </a:r>
            <a:endParaRPr lang="da-DK" sz="17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vornår kunne grundvandssænkningen slukkes for ikke at få opdriftsproblemer under udførelsen?</a:t>
            </a: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spcAft>
                <a:spcPts val="400"/>
              </a:spcAft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Generelt: Ingen 100% sikre løsninger =&gt; Inddragelse af bygherre i valg på baggrund af opstilling af risikobillede.</a:t>
            </a:r>
            <a:endParaRPr lang="da-DK" sz="17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spcAft>
                <a:spcPts val="800"/>
              </a:spcAft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tram tidsplan =&gt; træffe hurtige beslutninger om valg af løsninger.</a:t>
            </a:r>
            <a:endParaRPr lang="da-DK" sz="17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820702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23">
            <a:extLst>
              <a:ext uri="{FF2B5EF4-FFF2-40B4-BE49-F238E27FC236}">
                <a16:creationId xmlns:a16="http://schemas.microsoft.com/office/drawing/2014/main" id="{31634825-C78B-4158-8B7C-97BA5FB39B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400" y="360000"/>
            <a:ext cx="11473200" cy="619713"/>
          </a:xfrm>
        </p:spPr>
        <p:txBody>
          <a:bodyPr anchor="t">
            <a:normAutofit/>
          </a:bodyPr>
          <a:lstStyle/>
          <a:p>
            <a:r>
              <a:rPr lang="en-US" sz="3700" b="1" dirty="0" err="1"/>
              <a:t>Overordnede</a:t>
            </a:r>
            <a:r>
              <a:rPr lang="en-US" sz="3700" b="1" dirty="0"/>
              <a:t> </a:t>
            </a:r>
            <a:r>
              <a:rPr lang="en-US" sz="3700" b="1" dirty="0" err="1"/>
              <a:t>problemstillinger</a:t>
            </a:r>
            <a:endParaRPr lang="en-US" sz="3700" b="1" dirty="0"/>
          </a:p>
        </p:txBody>
      </p:sp>
      <p:sp>
        <p:nvSpPr>
          <p:cNvPr id="31" name="Slide Number Placeholder 3">
            <a:extLst>
              <a:ext uri="{FF2B5EF4-FFF2-40B4-BE49-F238E27FC236}">
                <a16:creationId xmlns:a16="http://schemas.microsoft.com/office/drawing/2014/main" id="{EBAB7D44-3C05-A937-A2FF-C477ABDEF6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9600" y="6375818"/>
            <a:ext cx="511868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fld id="{24C8C45C-947F-4981-8B3F-4F32E973C901}" type="slidenum">
              <a:rPr lang="en-GB" smtClean="0"/>
              <a:pPr>
                <a:spcAft>
                  <a:spcPts val="600"/>
                </a:spcAft>
              </a:pPr>
              <a:t>7</a:t>
            </a:fld>
            <a:endParaRPr lang="en-GB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587DAD8-CAB8-48A7-B201-66622ECFBBCF}"/>
              </a:ext>
            </a:extLst>
          </p:cNvPr>
          <p:cNvSpPr txBox="1">
            <a:spLocks/>
          </p:cNvSpPr>
          <p:nvPr/>
        </p:nvSpPr>
        <p:spPr>
          <a:xfrm>
            <a:off x="449911" y="3047805"/>
            <a:ext cx="5461000" cy="3121025"/>
          </a:xfrm>
          <a:prstGeom prst="rect">
            <a:avLst/>
          </a:prstGeom>
        </p:spPr>
        <p:txBody>
          <a:bodyPr vert="horz" lIns="72000" tIns="36000" rIns="72000" bIns="36000" rtlCol="0">
            <a:normAutofit/>
          </a:bodyPr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880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320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da-DK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45FA9F2-A28E-41FB-9686-9FE9C8ACA7E4}"/>
              </a:ext>
            </a:extLst>
          </p:cNvPr>
          <p:cNvSpPr txBox="1"/>
          <p:nvPr/>
        </p:nvSpPr>
        <p:spPr>
          <a:xfrm>
            <a:off x="8699236" y="1640396"/>
            <a:ext cx="331997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US" sz="16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F07828C-E04E-4EAF-A8CB-DF80BEA9C394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73881" y="1280011"/>
            <a:ext cx="11790125" cy="4888819"/>
          </a:xfrm>
        </p:spPr>
        <p:txBody>
          <a:bodyPr>
            <a:noAutofit/>
          </a:bodyPr>
          <a:lstStyle/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solidFill>
                  <a:srgbClr val="FF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dledende: Stor opdrift fra vandtryk =&gt; ret mange trækpæle =&gt; eftervisning af gruppevirkning</a:t>
            </a: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ange pæle kunne ikke rammes ned ved prøveramning  =&gt;  udfordringer med trækkapacitet</a:t>
            </a: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nkre &gt;&lt; stålpæle – eller satse på, at betonpæle kunne rammes ned (risikoanalyse)?</a:t>
            </a: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ftervisning af trykkapacitet: Meget varierende jordbundsforhold =&gt; nødvendigt med stort omfang af PDA-målinger. </a:t>
            </a: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Korrigering af bæreevne for ekstra overlejring pga. højere rammeplanum og grundvandssænkning.</a:t>
            </a:r>
            <a:endParaRPr lang="da-DK" sz="17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ange knækkede pæle</a:t>
            </a:r>
            <a:r>
              <a:rPr lang="da-DK" sz="17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</a:t>
            </a: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For hurtig levering? For lidt længdearmering? </a:t>
            </a:r>
            <a:endParaRPr lang="da-DK" sz="17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everanceproblemer: Min. 3 ugers leveringstid =&gt; Ikke muligt med forsøg med større pæle eller pæle med mere længdearmering.</a:t>
            </a:r>
            <a:endParaRPr lang="da-DK" sz="17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tablering af jordankre: Sikring mod opadrettede grundvandsstrømninger fra vandmagasiner i kalken.</a:t>
            </a:r>
            <a:endParaRPr lang="da-DK" sz="17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spcAft>
                <a:spcPts val="400"/>
              </a:spcAft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pdriftsankre tæt på pæle: Skulle pæle eller ankre udføres først for ikke at skade hinanden/få indflydelse på bæreevnen?             </a:t>
            </a:r>
            <a:r>
              <a:rPr lang="da-DK" sz="1700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H</a:t>
            </a: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vor langt skulle pælene stå fra ankrene for at risikoen for skader var acceptable?</a:t>
            </a:r>
            <a:endParaRPr lang="da-DK" sz="17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spcAft>
                <a:spcPts val="400"/>
              </a:spcAft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st af jordankre: Begrænsninger i bundpladens kapacitet =&gt; Der skulle anvendes åg for test af ankre.</a:t>
            </a:r>
            <a:endParaRPr lang="da-DK" sz="17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vornår kunne grundvandssænkningen slukkes for ikke at få opdriftsproblemer under udførelsen?</a:t>
            </a: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spcAft>
                <a:spcPts val="400"/>
              </a:spcAft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Generelt: Ingen 100% sikre løsninger =&gt; Inddragelse af bygherre i valg på baggrund af opstilling af risikobillede.</a:t>
            </a:r>
            <a:endParaRPr lang="da-DK" sz="17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spcAft>
                <a:spcPts val="800"/>
              </a:spcAft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tram tidsplan =&gt; træffe hurtige beslutninger om valg af løsninger.</a:t>
            </a:r>
            <a:endParaRPr lang="da-DK" sz="17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319798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23">
            <a:extLst>
              <a:ext uri="{FF2B5EF4-FFF2-40B4-BE49-F238E27FC236}">
                <a16:creationId xmlns:a16="http://schemas.microsoft.com/office/drawing/2014/main" id="{31634825-C78B-4158-8B7C-97BA5FB39B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400" y="360000"/>
            <a:ext cx="11473200" cy="619713"/>
          </a:xfrm>
        </p:spPr>
        <p:txBody>
          <a:bodyPr anchor="t">
            <a:normAutofit/>
          </a:bodyPr>
          <a:lstStyle/>
          <a:p>
            <a:r>
              <a:rPr lang="en-US" sz="3700" b="1" dirty="0"/>
              <a:t>Trækpæle, </a:t>
            </a:r>
            <a:r>
              <a:rPr lang="en-US" sz="3700" b="1" dirty="0" err="1"/>
              <a:t>eftervisning</a:t>
            </a:r>
            <a:r>
              <a:rPr lang="en-US" sz="3700" b="1" dirty="0"/>
              <a:t> af </a:t>
            </a:r>
            <a:r>
              <a:rPr lang="en-US" sz="3700" b="1" dirty="0" err="1"/>
              <a:t>gruppevirkning</a:t>
            </a:r>
            <a:endParaRPr lang="en-US" sz="3700" b="1" dirty="0"/>
          </a:p>
        </p:txBody>
      </p:sp>
      <p:sp>
        <p:nvSpPr>
          <p:cNvPr id="31" name="Slide Number Placeholder 3">
            <a:extLst>
              <a:ext uri="{FF2B5EF4-FFF2-40B4-BE49-F238E27FC236}">
                <a16:creationId xmlns:a16="http://schemas.microsoft.com/office/drawing/2014/main" id="{EBAB7D44-3C05-A937-A2FF-C477ABDEF6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9600" y="6375818"/>
            <a:ext cx="511868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fld id="{24C8C45C-947F-4981-8B3F-4F32E973C901}" type="slidenum">
              <a:rPr lang="en-GB" smtClean="0"/>
              <a:pPr>
                <a:spcAft>
                  <a:spcPts val="600"/>
                </a:spcAft>
              </a:pPr>
              <a:t>8</a:t>
            </a:fld>
            <a:endParaRPr lang="en-GB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587DAD8-CAB8-48A7-B201-66622ECFBBCF}"/>
              </a:ext>
            </a:extLst>
          </p:cNvPr>
          <p:cNvSpPr txBox="1">
            <a:spLocks/>
          </p:cNvSpPr>
          <p:nvPr/>
        </p:nvSpPr>
        <p:spPr>
          <a:xfrm>
            <a:off x="449911" y="3047805"/>
            <a:ext cx="5461000" cy="3121025"/>
          </a:xfrm>
          <a:prstGeom prst="rect">
            <a:avLst/>
          </a:prstGeom>
        </p:spPr>
        <p:txBody>
          <a:bodyPr vert="horz" lIns="72000" tIns="36000" rIns="72000" bIns="36000" rtlCol="0">
            <a:normAutofit/>
          </a:bodyPr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880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320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da-DK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45FA9F2-A28E-41FB-9686-9FE9C8ACA7E4}"/>
              </a:ext>
            </a:extLst>
          </p:cNvPr>
          <p:cNvSpPr txBox="1"/>
          <p:nvPr/>
        </p:nvSpPr>
        <p:spPr>
          <a:xfrm>
            <a:off x="8699236" y="1640396"/>
            <a:ext cx="331997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US" sz="16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4C923E1-0A3A-4F8E-8BD8-E0095934E9F0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da-DK" sz="2400" dirty="0"/>
              <a:t>Udsnit af pæleplan</a:t>
            </a:r>
            <a:endParaRPr lang="da-DK" dirty="0"/>
          </a:p>
          <a:p>
            <a:pPr marL="0" indent="0">
              <a:spcBef>
                <a:spcPts val="200"/>
              </a:spcBef>
              <a:buNone/>
            </a:pPr>
            <a:r>
              <a:rPr lang="da-DK" dirty="0"/>
              <a:t>      - </a:t>
            </a:r>
            <a:r>
              <a:rPr lang="da-DK" sz="2000" dirty="0"/>
              <a:t>mange trækpæle i bygningskerner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E26A4F66-3244-4700-8556-B6FD8A8AA39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5534" y="2552909"/>
            <a:ext cx="5734050" cy="371475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07AFA181-4BE5-4551-82F1-265518DE06B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63121" y="1128041"/>
            <a:ext cx="3392204" cy="3839528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FADE99E7-09B1-47CE-8A55-5A3DFE4534E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86163" y="2851375"/>
            <a:ext cx="2968520" cy="3714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034742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23">
            <a:extLst>
              <a:ext uri="{FF2B5EF4-FFF2-40B4-BE49-F238E27FC236}">
                <a16:creationId xmlns:a16="http://schemas.microsoft.com/office/drawing/2014/main" id="{31634825-C78B-4158-8B7C-97BA5FB39B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400" y="360000"/>
            <a:ext cx="11473200" cy="619713"/>
          </a:xfrm>
        </p:spPr>
        <p:txBody>
          <a:bodyPr anchor="t">
            <a:normAutofit/>
          </a:bodyPr>
          <a:lstStyle/>
          <a:p>
            <a:r>
              <a:rPr lang="en-US" sz="3700" b="1" dirty="0" err="1"/>
              <a:t>Overordnede</a:t>
            </a:r>
            <a:r>
              <a:rPr lang="en-US" sz="3700" b="1" dirty="0"/>
              <a:t> </a:t>
            </a:r>
            <a:r>
              <a:rPr lang="en-US" sz="3700" b="1" dirty="0" err="1"/>
              <a:t>problemstillinger</a:t>
            </a:r>
            <a:endParaRPr lang="en-US" sz="3700" b="1" dirty="0"/>
          </a:p>
        </p:txBody>
      </p:sp>
      <p:sp>
        <p:nvSpPr>
          <p:cNvPr id="31" name="Slide Number Placeholder 3">
            <a:extLst>
              <a:ext uri="{FF2B5EF4-FFF2-40B4-BE49-F238E27FC236}">
                <a16:creationId xmlns:a16="http://schemas.microsoft.com/office/drawing/2014/main" id="{EBAB7D44-3C05-A937-A2FF-C477ABDEF6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9600" y="6375818"/>
            <a:ext cx="511868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fld id="{24C8C45C-947F-4981-8B3F-4F32E973C901}" type="slidenum">
              <a:rPr lang="en-GB" smtClean="0"/>
              <a:pPr>
                <a:spcAft>
                  <a:spcPts val="600"/>
                </a:spcAft>
              </a:pPr>
              <a:t>9</a:t>
            </a:fld>
            <a:endParaRPr lang="en-GB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587DAD8-CAB8-48A7-B201-66622ECFBBCF}"/>
              </a:ext>
            </a:extLst>
          </p:cNvPr>
          <p:cNvSpPr txBox="1">
            <a:spLocks/>
          </p:cNvSpPr>
          <p:nvPr/>
        </p:nvSpPr>
        <p:spPr>
          <a:xfrm>
            <a:off x="449911" y="3047805"/>
            <a:ext cx="5461000" cy="3121025"/>
          </a:xfrm>
          <a:prstGeom prst="rect">
            <a:avLst/>
          </a:prstGeom>
        </p:spPr>
        <p:txBody>
          <a:bodyPr vert="horz" lIns="72000" tIns="36000" rIns="72000" bIns="36000" rtlCol="0">
            <a:normAutofit/>
          </a:bodyPr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880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320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da-DK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45FA9F2-A28E-41FB-9686-9FE9C8ACA7E4}"/>
              </a:ext>
            </a:extLst>
          </p:cNvPr>
          <p:cNvSpPr txBox="1"/>
          <p:nvPr/>
        </p:nvSpPr>
        <p:spPr>
          <a:xfrm>
            <a:off x="8699236" y="1640396"/>
            <a:ext cx="331997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US" sz="16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F07828C-E04E-4EAF-A8CB-DF80BEA9C394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73881" y="1280011"/>
            <a:ext cx="11790125" cy="4888819"/>
          </a:xfrm>
        </p:spPr>
        <p:txBody>
          <a:bodyPr>
            <a:noAutofit/>
          </a:bodyPr>
          <a:lstStyle/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dledende: Stor opdrift fra vandtryk =&gt; ret mange trækpæle =&gt; eftervisning af gruppevirkning</a:t>
            </a: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solidFill>
                  <a:srgbClr val="FF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ange pæle kunne ikke rammes ned ved prøveramning  =&gt;  udfordringer med trækkapacitet</a:t>
            </a: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nkre &gt;&lt; stålpæle – eller satse på, at betonpæle kunne rammes ned (risikoanalyse)?</a:t>
            </a: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ftervisning af trykkapacitet: Meget varierende jordbundsforhold =&gt; nødvendigt med stort omfang af PDA-målinger. </a:t>
            </a: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Korrigering af bæreevne for ekstra overlejring pga. højere rammeplanum og grundvandssænkning.</a:t>
            </a:r>
            <a:endParaRPr lang="da-DK" sz="17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ange knækkede pæle</a:t>
            </a:r>
            <a:r>
              <a:rPr lang="da-DK" sz="17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</a:t>
            </a: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For hurtig levering? For lidt længdearmering? </a:t>
            </a:r>
            <a:endParaRPr lang="da-DK" sz="17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everanceproblemer: Min. 3 ugers leveringstid =&gt; Ikke muligt med forsøg med større pæle eller pæle med mere længdearmering.</a:t>
            </a:r>
            <a:endParaRPr lang="da-DK" sz="17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tablering af jordankre: Sikring mod opadrettede grundvandsstrømninger fra vandmagasiner i kalken.</a:t>
            </a:r>
            <a:endParaRPr lang="da-DK" sz="17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spcAft>
                <a:spcPts val="400"/>
              </a:spcAft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pdriftsankre tæt på pæle: Skulle pæle eller ankre udføres først for ikke at skade hinanden/få indflydelse på bæreevnen?             </a:t>
            </a:r>
            <a:r>
              <a:rPr lang="da-DK" sz="1700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H</a:t>
            </a: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vor langt skulle pælene stå fra ankrene for at risikoen for skader var acceptable?</a:t>
            </a:r>
            <a:endParaRPr lang="da-DK" sz="17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spcAft>
                <a:spcPts val="400"/>
              </a:spcAft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st af jordankre: Begrænsninger i bundpladens kapacitet =&gt; Der skulle anvendes åg for test af ankre.</a:t>
            </a:r>
            <a:endParaRPr lang="da-DK" sz="17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vornår kunne grundvandssænkningen slukkes for ikke at få opdriftsproblemer under udførelsen?</a:t>
            </a: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spcAft>
                <a:spcPts val="400"/>
              </a:spcAft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Generelt: Ingen 100% sikre løsninger =&gt; Inddragelse af bygherre i valg på baggrund af opstilling af risikobillede.</a:t>
            </a:r>
            <a:endParaRPr lang="da-DK" sz="17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Bef>
                <a:spcPts val="400"/>
              </a:spcBef>
              <a:spcAft>
                <a:spcPts val="800"/>
              </a:spcAft>
              <a:buFont typeface="+mj-lt"/>
              <a:buAutoNum type="arabicParenR"/>
            </a:pPr>
            <a:r>
              <a:rPr lang="da-DK" sz="17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tram tidsplan =&gt; træffe hurtige beslutninger om valg af løsninger.</a:t>
            </a:r>
            <a:endParaRPr lang="da-DK" sz="17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86805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OCK">
  <a:themeElements>
    <a:clrScheme name="ROCK">
      <a:dk1>
        <a:srgbClr val="000000"/>
      </a:dk1>
      <a:lt1>
        <a:srgbClr val="FFFFFF"/>
      </a:lt1>
      <a:dk2>
        <a:srgbClr val="404040"/>
      </a:dk2>
      <a:lt2>
        <a:srgbClr val="DDDDDD"/>
      </a:lt2>
      <a:accent1>
        <a:srgbClr val="DDDDDD"/>
      </a:accent1>
      <a:accent2>
        <a:srgbClr val="BDBDBD"/>
      </a:accent2>
      <a:accent3>
        <a:srgbClr val="8C8C8C"/>
      </a:accent3>
      <a:accent4>
        <a:srgbClr val="666666"/>
      </a:accent4>
      <a:accent5>
        <a:srgbClr val="404040"/>
      </a:accent5>
      <a:accent6>
        <a:srgbClr val="F68B1F"/>
      </a:accent6>
      <a:hlink>
        <a:srgbClr val="008EBB"/>
      </a:hlink>
      <a:folHlink>
        <a:srgbClr val="008EBB"/>
      </a:folHlink>
    </a:clrScheme>
    <a:fontScheme name="NIRAS Theme Fonts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OCK" id="{E3FF933A-EA71-408E-82F6-117CEE2F5A68}" vid="{BB305CF8-34E5-4268-BF86-5DEA22CE3CD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Project Document" ma:contentTypeID="0x010100DCD90FCC66DA8F4C882C689D6817D41B00F691D77B5F96854C84E770AB437822F4" ma:contentTypeVersion="90" ma:contentTypeDescription="Create a new document." ma:contentTypeScope="" ma:versionID="18c343d5075c04e1903a394c79000266">
  <xsd:schema xmlns:xsd="http://www.w3.org/2001/XMLSchema" xmlns:xs="http://www.w3.org/2001/XMLSchema" xmlns:p="http://schemas.microsoft.com/office/2006/metadata/properties" xmlns:ns2="36389baf-d775-4142-9ba9-987d54fbb0d5" xmlns:ns3="8de29bf6-17fa-407c-a8e0-39214a782f8a" xmlns:ns4="3ff2e1a5-d34d-4447-9aa1-aa6201126706" targetNamespace="http://schemas.microsoft.com/office/2006/metadata/properties" ma:root="true" ma:fieldsID="1b92bfde93941a7d5f59f6edb29f3806" ns2:_="" ns3:_="" ns4:_="">
    <xsd:import namespace="36389baf-d775-4142-9ba9-987d54fbb0d5"/>
    <xsd:import namespace="8de29bf6-17fa-407c-a8e0-39214a782f8a"/>
    <xsd:import namespace="3ff2e1a5-d34d-4447-9aa1-aa6201126706"/>
    <xsd:element name="properties">
      <xsd:complexType>
        <xsd:sequence>
          <xsd:element name="documentManagement">
            <xsd:complexType>
              <xsd:all>
                <xsd:element ref="ns2:NIRASProjectID" minOccurs="0"/>
                <xsd:element ref="ns2:NIRASCreatedDate" minOccurs="0"/>
                <xsd:element ref="ns2:DocumentRevisionId" minOccurs="0"/>
                <xsd:element ref="ns2:DocumentRevisionIdPublished" minOccurs="0"/>
                <xsd:element ref="ns2:NIRASRevisionDate" minOccurs="0"/>
                <xsd:element ref="ns2:NIRASScaleTxt" minOccurs="0"/>
                <xsd:element ref="ns2:NIRASSortOrder" minOccurs="0"/>
                <xsd:element ref="ns2:Delivery" minOccurs="0"/>
                <xsd:element ref="ns2:NIRASDocumentNo" minOccurs="0"/>
                <xsd:element ref="ns2:NIRASOldModifiedBy" minOccurs="0"/>
                <xsd:element ref="ns2:i5700158192d457fa5a55d94ad1f5c8a" minOccurs="0"/>
                <xsd:element ref="ns2:da20537ee97d477b961033ada76c4a82" minOccurs="0"/>
                <xsd:element ref="ns2:b20adbee33c84350ab297149ab7609e1" minOccurs="0"/>
                <xsd:element ref="ns2:TaxCatchAllLabel" minOccurs="0"/>
                <xsd:element ref="ns2:TaxCatchAll" minOccurs="0"/>
                <xsd:element ref="ns2:o7ddbb95048e4674b1961839f647280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AutoTags" minOccurs="0"/>
                <xsd:element ref="ns3:MediaServiceFastMetadata" minOccurs="0"/>
                <xsd:element ref="ns3:MediaServiceMetadata" minOccurs="0"/>
                <xsd:element ref="ns3:Filesfrom" minOccurs="0"/>
                <xsd:element ref="ns3:MediaServiceOCR" minOccurs="0"/>
                <xsd:element ref="ns4:_dlc_DocId" minOccurs="0"/>
                <xsd:element ref="ns4:_dlc_DocIdUrl" minOccurs="0"/>
                <xsd:element ref="ns4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6389baf-d775-4142-9ba9-987d54fbb0d5" elementFormDefault="qualified">
    <xsd:import namespace="http://schemas.microsoft.com/office/2006/documentManagement/types"/>
    <xsd:import namespace="http://schemas.microsoft.com/office/infopath/2007/PartnerControls"/>
    <xsd:element name="NIRASProjectID" ma:index="2" nillable="true" ma:displayName="Project ID" ma:internalName="NIRASProjectID">
      <xsd:simpleType>
        <xsd:restriction base="dms:Text"/>
      </xsd:simpleType>
    </xsd:element>
    <xsd:element name="NIRASCreatedDate" ma:index="3" nillable="true" ma:displayName="First issue date" ma:format="DateOnly" ma:internalName="NIRASCreatedDate">
      <xsd:simpleType>
        <xsd:restriction base="dms:DateTime"/>
      </xsd:simpleType>
    </xsd:element>
    <xsd:element name="DocumentRevisionId" ma:index="5" nillable="true" ma:displayName="Revision" ma:internalName="DocumentRevisionId">
      <xsd:simpleType>
        <xsd:restriction base="dms:Text"/>
      </xsd:simpleType>
    </xsd:element>
    <xsd:element name="DocumentRevisionIdPublished" ma:index="6" nillable="true" ma:displayName="Last published revision" ma:internalName="DocumentRevisionIdPublished">
      <xsd:simpleType>
        <xsd:restriction base="dms:Text"/>
      </xsd:simpleType>
    </xsd:element>
    <xsd:element name="NIRASRevisionDate" ma:index="7" nillable="true" ma:displayName="Revision date" ma:internalName="NIRASRevisionDate">
      <xsd:simpleType>
        <xsd:restriction base="dms:DateTime"/>
      </xsd:simpleType>
    </xsd:element>
    <xsd:element name="NIRASScaleTxt" ma:index="9" nillable="true" ma:displayName="Scale" ma:internalName="NIRASScaleTxt">
      <xsd:simpleType>
        <xsd:restriction base="dms:Text">
          <xsd:maxLength value="255"/>
        </xsd:restriction>
      </xsd:simpleType>
    </xsd:element>
    <xsd:element name="NIRASSortOrder" ma:index="11" nillable="true" ma:displayName="Sort order" ma:internalName="NIRASSortOrder">
      <xsd:simpleType>
        <xsd:restriction base="dms:Number"/>
      </xsd:simpleType>
    </xsd:element>
    <xsd:element name="Delivery" ma:index="12" nillable="true" ma:displayName="Delivery" ma:list="{c8a52eae-c560-4660-bdcc-f5be32eefff2}" ma:internalName="Delivery" ma:readOnly="false" ma:showField="NIRASDocListName" ma:web="3ff2e1a5-d34d-4447-9aa1-aa620112670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NIRASDocumentNo" ma:index="13" nillable="true" ma:displayName="Old document ID" ma:description="Old document number from source system" ma:internalName="NIRASDocumentNo">
      <xsd:simpleType>
        <xsd:restriction base="dms:Text">
          <xsd:maxLength value="255"/>
        </xsd:restriction>
      </xsd:simpleType>
    </xsd:element>
    <xsd:element name="NIRASOldModifiedBy" ma:index="14" nillable="true" ma:displayName="Old modified by" ma:internalName="NIRASOldModifiedBy" ma:readOnly="false">
      <xsd:simpleType>
        <xsd:restriction base="dms:Text">
          <xsd:maxLength value="255"/>
        </xsd:restriction>
      </xsd:simpleType>
    </xsd:element>
    <xsd:element name="i5700158192d457fa5a55d94ad1f5c8a" ma:index="16" nillable="true" ma:taxonomy="true" ma:internalName="i5700158192d457fa5a55d94ad1f5c8a" ma:taxonomyFieldName="NIRASScale" ma:displayName="Scale_Old" ma:readOnly="false" ma:default="" ma:fieldId="{25700158-192d-457f-a5a5-5d94ad1f5c8a}" ma:sspId="ab2600de-030e-40a3-a341-c72395049305" ma:termSetId="3e7e8768-c6c9-4058-bd1b-2f646ad16eb7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da20537ee97d477b961033ada76c4a82" ma:index="22" nillable="true" ma:taxonomy="true" ma:internalName="da20537ee97d477b961033ada76c4a82" ma:taxonomyFieldName="NIRASQAStatus" ma:displayName="QA Status" ma:readOnly="false" ma:default="" ma:fieldId="{da20537e-e97d-477b-9610-33ada76c4a82}" ma:sspId="ab2600de-030e-40a3-a341-c72395049305" ma:termSetId="94d4a05f-61b3-4765-97ef-9ba750d26c81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b20adbee33c84350ab297149ab7609e1" ma:index="23" nillable="true" ma:taxonomy="true" ma:internalName="b20adbee33c84350ab297149ab7609e1" ma:taxonomyFieldName="NIRASDocumentKind" ma:displayName="Document content" ma:default="" ma:fieldId="{b20adbee-33c8-4350-ab29-7149ab7609e1}" ma:taxonomyMulti="true" ma:sspId="ab2600de-030e-40a3-a341-c72395049305" ma:termSetId="0c6706ef-2aa8-49e9-8152-ee2cbb588c72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Label" ma:index="24" nillable="true" ma:displayName="Taxonomy Catch All Column1" ma:hidden="true" ma:list="{39f265e1-6d04-4304-b5a7-b2e461a458c2}" ma:internalName="TaxCatchAllLabel" ma:readOnly="true" ma:showField="CatchAllDataLabel" ma:web="3ff2e1a5-d34d-4447-9aa1-aa620112670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" ma:index="25" nillable="true" ma:displayName="Taxonomy Catch All Column" ma:hidden="true" ma:list="{39f265e1-6d04-4304-b5a7-b2e461a458c2}" ma:internalName="TaxCatchAll" ma:showField="CatchAllData" ma:web="3ff2e1a5-d34d-4447-9aa1-aa620112670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o7ddbb95048e4674b1961839f647280e" ma:index="26" nillable="true" ma:taxonomy="true" ma:internalName="o7ddbb95048e4674b1961839f647280e" ma:taxonomyFieldName="NIRASQAGroup" ma:displayName="Country" ma:readOnly="false" ma:default="" ma:fieldId="{87ddbb95-048e-4674-b196-1839f647280e}" ma:taxonomyMulti="true" ma:sspId="ab2600de-030e-40a3-a341-c72395049305" ma:termSetId="6fd9237d-65aa-4da7-afa0-2c7efb1a215c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de29bf6-17fa-407c-a8e0-39214a782f8a" elementFormDefault="qualified">
    <xsd:import namespace="http://schemas.microsoft.com/office/2006/documentManagement/types"/>
    <xsd:import namespace="http://schemas.microsoft.com/office/infopath/2007/PartnerControls"/>
    <xsd:element name="MediaServiceGenerationTime" ma:index="2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3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31" nillable="true" ma:displayName="Tags" ma:internalName="MediaServiceAutoTags" ma:readOnly="true">
      <xsd:simpleType>
        <xsd:restriction base="dms:Text"/>
      </xsd:simpleType>
    </xsd:element>
    <xsd:element name="MediaServiceFastMetadata" ma:index="3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Metadata" ma:index="33" nillable="true" ma:displayName="MediaServiceMetadata" ma:hidden="true" ma:internalName="MediaServiceMetadata" ma:readOnly="true">
      <xsd:simpleType>
        <xsd:restriction base="dms:Note"/>
      </xsd:simpleType>
    </xsd:element>
    <xsd:element name="Filesfrom" ma:index="34" nillable="true" ma:displayName="Files from" ma:format="Dropdown" ma:internalName="Filesfrom">
      <xsd:simpleType>
        <xsd:restriction base="dms:Text">
          <xsd:maxLength value="255"/>
        </xsd:restriction>
      </xsd:simpleType>
    </xsd:element>
    <xsd:element name="MediaServiceOCR" ma:index="3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ff2e1a5-d34d-4447-9aa1-aa6201126706" elementFormDefault="qualified">
    <xsd:import namespace="http://schemas.microsoft.com/office/2006/documentManagement/types"/>
    <xsd:import namespace="http://schemas.microsoft.com/office/infopath/2007/PartnerControls"/>
    <xsd:element name="_dlc_DocId" ma:index="36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37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38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7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da20537ee97d477b961033ada76c4a82 xmlns="36389baf-d775-4142-9ba9-987d54fbb0d5">
      <Terms xmlns="http://schemas.microsoft.com/office/infopath/2007/PartnerControls"/>
    </da20537ee97d477b961033ada76c4a82>
    <NIRASProjectID xmlns="36389baf-d775-4142-9ba9-987d54fbb0d5">9999991</NIRASProjectID>
    <NIRASCreatedDate xmlns="36389baf-d775-4142-9ba9-987d54fbb0d5" xsi:nil="true"/>
    <NIRASScaleTxt xmlns="36389baf-d775-4142-9ba9-987d54fbb0d5" xsi:nil="true"/>
    <Delivery xmlns="36389baf-d775-4142-9ba9-987d54fbb0d5"/>
    <i5700158192d457fa5a55d94ad1f5c8a xmlns="36389baf-d775-4142-9ba9-987d54fbb0d5">
      <Terms xmlns="http://schemas.microsoft.com/office/infopath/2007/PartnerControls"/>
    </i5700158192d457fa5a55d94ad1f5c8a>
    <b20adbee33c84350ab297149ab7609e1 xmlns="36389baf-d775-4142-9ba9-987d54fbb0d5">
      <Terms xmlns="http://schemas.microsoft.com/office/infopath/2007/PartnerControls">
        <TermInfo xmlns="http://schemas.microsoft.com/office/infopath/2007/PartnerControls">
          <TermName xmlns="http://schemas.microsoft.com/office/infopath/2007/PartnerControls">Presentation</TermName>
          <TermId xmlns="http://schemas.microsoft.com/office/infopath/2007/PartnerControls">6971b158-feba-49ed-a316-35dbbf67cee1</TermId>
        </TermInfo>
      </Terms>
    </b20adbee33c84350ab297149ab7609e1>
    <NIRASDocumentNo xmlns="36389baf-d775-4142-9ba9-987d54fbb0d5" xsi:nil="true"/>
    <DocumentRevisionIdPublished xmlns="36389baf-d775-4142-9ba9-987d54fbb0d5" xsi:nil="true"/>
    <DocumentRevisionId xmlns="36389baf-d775-4142-9ba9-987d54fbb0d5" xsi:nil="true"/>
    <NIRASRevisionDate xmlns="36389baf-d775-4142-9ba9-987d54fbb0d5" xsi:nil="true"/>
    <NIRASSortOrder xmlns="36389baf-d775-4142-9ba9-987d54fbb0d5" xsi:nil="true"/>
    <NIRASOldModifiedBy xmlns="36389baf-d775-4142-9ba9-987d54fbb0d5" xsi:nil="true"/>
    <TaxCatchAll xmlns="36389baf-d775-4142-9ba9-987d54fbb0d5">
      <Value>15</Value>
    </TaxCatchAll>
    <o7ddbb95048e4674b1961839f647280e xmlns="36389baf-d775-4142-9ba9-987d54fbb0d5">
      <Terms xmlns="http://schemas.microsoft.com/office/infopath/2007/PartnerControls"/>
    </o7ddbb95048e4674b1961839f647280e>
    <_dlc_DocId xmlns="3ff2e1a5-d34d-4447-9aa1-aa6201126706">YNAS6NA67CVJ-2065489706-1849</_dlc_DocId>
    <_dlc_DocIdUrl xmlns="3ff2e1a5-d34d-4447-9aa1-aa6201126706">
      <Url>https://niras.sharepoint.com/sites/10023.APP/_layouts/15/DocIdRedir.aspx?ID=YNAS6NA67CVJ-2065489706-1849</Url>
      <Description>YNAS6NA67CVJ-2065489706-1849</Description>
    </_dlc_DocIdUrl>
    <Filesfrom xmlns="8de29bf6-17fa-407c-a8e0-39214a782f8a" xsi:nil="true"/>
    <_dlc_DocIdPersistId xmlns="3ff2e1a5-d34d-4447-9aa1-aa6201126706">false</_dlc_DocIdPersistId>
  </documentManagement>
</p:properties>
</file>

<file path=customXml/item4.xml><?xml version="1.0" encoding="utf-8"?>
<?mso-contentType ?>
<SharedContentType xmlns="Microsoft.SharePoint.Taxonomy.ContentTypeSync" SourceId="ab2600de-030e-40a3-a341-c72395049305" ContentTypeId="0x010100DCD90FCC66DA8F4C882C689D6817D41B" PreviousValue="false"/>
</file>

<file path=customXml/item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AA6DD2A-053E-42FF-B0DE-1DD1B6EE3A8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6389baf-d775-4142-9ba9-987d54fbb0d5"/>
    <ds:schemaRef ds:uri="8de29bf6-17fa-407c-a8e0-39214a782f8a"/>
    <ds:schemaRef ds:uri="3ff2e1a5-d34d-4447-9aa1-aa620112670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FD108CBF-39CE-4239-8767-6290521971EC}">
  <ds:schemaRefs>
    <ds:schemaRef ds:uri="http://schemas.microsoft.com/sharepoint/events"/>
  </ds:schemaRefs>
</ds:datastoreItem>
</file>

<file path=customXml/itemProps3.xml><?xml version="1.0" encoding="utf-8"?>
<ds:datastoreItem xmlns:ds="http://schemas.openxmlformats.org/officeDocument/2006/customXml" ds:itemID="{EF2D9010-5B9A-42E9-82DA-7047A8B26637}">
  <ds:schemaRefs>
    <ds:schemaRef ds:uri="http://schemas.microsoft.com/office/infopath/2007/PartnerControls"/>
    <ds:schemaRef ds:uri="http://purl.org/dc/dcmitype/"/>
    <ds:schemaRef ds:uri="http://purl.org/dc/elements/1.1/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50d9b067-50fb-4347-b99b-9c4947e73d72"/>
    <ds:schemaRef ds:uri="36389baf-d775-4142-9ba9-987d54fbb0d5"/>
    <ds:schemaRef ds:uri="http://schemas.microsoft.com/office/2006/metadata/properties"/>
    <ds:schemaRef ds:uri="http://www.w3.org/XML/1998/namespace"/>
    <ds:schemaRef ds:uri="3ff2e1a5-d34d-4447-9aa1-aa6201126706"/>
    <ds:schemaRef ds:uri="8de29bf6-17fa-407c-a8e0-39214a782f8a"/>
  </ds:schemaRefs>
</ds:datastoreItem>
</file>

<file path=customXml/itemProps4.xml><?xml version="1.0" encoding="utf-8"?>
<ds:datastoreItem xmlns:ds="http://schemas.openxmlformats.org/officeDocument/2006/customXml" ds:itemID="{9B862181-6E2D-40C1-AB3C-72AA2418A46E}">
  <ds:schemaRefs>
    <ds:schemaRef ds:uri="Microsoft.SharePoint.Taxonomy.ContentTypeSync"/>
  </ds:schemaRefs>
</ds:datastoreItem>
</file>

<file path=customXml/itemProps5.xml><?xml version="1.0" encoding="utf-8"?>
<ds:datastoreItem xmlns:ds="http://schemas.openxmlformats.org/officeDocument/2006/customXml" ds:itemID="{CC8B92E9-4A0C-4A0E-99CF-605E3C9D882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ROCK</Template>
  <TotalTime>0</TotalTime>
  <Words>3835</Words>
  <Application>Microsoft Office PowerPoint</Application>
  <PresentationFormat>Widescreen</PresentationFormat>
  <Paragraphs>341</Paragraphs>
  <Slides>3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8</vt:i4>
      </vt:variant>
    </vt:vector>
  </HeadingPairs>
  <TitlesOfParts>
    <vt:vector size="50" baseType="lpstr">
      <vt:lpstr>Arial</vt:lpstr>
      <vt:lpstr>Calibri</vt:lpstr>
      <vt:lpstr>Gill Sans</vt:lpstr>
      <vt:lpstr>Lato</vt:lpstr>
      <vt:lpstr>Lato Regular</vt:lpstr>
      <vt:lpstr>Palatino Linotype</vt:lpstr>
      <vt:lpstr>Segoe UI</vt:lpstr>
      <vt:lpstr>Segoe UI Black</vt:lpstr>
      <vt:lpstr>Segoe UI Light</vt:lpstr>
      <vt:lpstr>Verdana Pro Cond Light</vt:lpstr>
      <vt:lpstr>ROCK</vt:lpstr>
      <vt:lpstr>think-cell Slide</vt:lpstr>
      <vt:lpstr>PowerPoint Presentation</vt:lpstr>
      <vt:lpstr>Projektet – hvor er vi</vt:lpstr>
      <vt:lpstr>Projektet – hvem og hvad</vt:lpstr>
      <vt:lpstr>Projektet - mængder</vt:lpstr>
      <vt:lpstr>Geoteknik</vt:lpstr>
      <vt:lpstr>Overordnede problemstillinger</vt:lpstr>
      <vt:lpstr>Overordnede problemstillinger</vt:lpstr>
      <vt:lpstr>Trækpæle, eftervisning af gruppevirkning</vt:lpstr>
      <vt:lpstr>Overordnede problemstillinger</vt:lpstr>
      <vt:lpstr>Prøveramningen</vt:lpstr>
      <vt:lpstr>Mange pæle kunne ikke rammes ned ved prøveramningen</vt:lpstr>
      <vt:lpstr>Overordnede problemstillinger</vt:lpstr>
      <vt:lpstr>Optagelse af træk</vt:lpstr>
      <vt:lpstr>Optagelse af træk</vt:lpstr>
      <vt:lpstr>Optagelse af træk</vt:lpstr>
      <vt:lpstr>Overordnede problemstillinger</vt:lpstr>
      <vt:lpstr>Eftervisning af trykkapacitet</vt:lpstr>
      <vt:lpstr>Eftervisning af trykkapacitet</vt:lpstr>
      <vt:lpstr>Overordnede problemstillinger</vt:lpstr>
      <vt:lpstr>Håndtering af rammedata</vt:lpstr>
      <vt:lpstr>Overordnede problemstillinger</vt:lpstr>
      <vt:lpstr>Overordnede problemstillinger</vt:lpstr>
      <vt:lpstr>Overordnede problemstillinger</vt:lpstr>
      <vt:lpstr>Etablering af jordankre</vt:lpstr>
      <vt:lpstr>Overordnede problemstillinger</vt:lpstr>
      <vt:lpstr>Opdriftsankre tæt på pæle</vt:lpstr>
      <vt:lpstr>Overordnede problemstillinger</vt:lpstr>
      <vt:lpstr>Test af jordankre</vt:lpstr>
      <vt:lpstr>Overordnede problemstillinger</vt:lpstr>
      <vt:lpstr>Hvornår kunne grundvandssænkningen slukkes </vt:lpstr>
      <vt:lpstr>Hvornår kunne grundvandssænkningen slukkes </vt:lpstr>
      <vt:lpstr>Overordnede problemstillinger</vt:lpstr>
      <vt:lpstr>Overordnede problemstillinger</vt:lpstr>
      <vt:lpstr>Hvad har vi lært?</vt:lpstr>
      <vt:lpstr>PowerPoint Presentation</vt:lpstr>
      <vt:lpstr>PowerPoint Presentation</vt:lpstr>
      <vt:lpstr>Bonus-slide: Teaser til muligt indlæg senere</vt:lpstr>
      <vt:lpstr>Bonus-slide: Teaser til muligt indlæg sener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homas Gribsholt-Beck (GRB)</dc:creator>
  <cp:lastModifiedBy>Thomas Gribsholt-Beck (GRB)</cp:lastModifiedBy>
  <cp:revision>62</cp:revision>
  <dcterms:created xsi:type="dcterms:W3CDTF">2022-03-14T13:19:58Z</dcterms:created>
  <dcterms:modified xsi:type="dcterms:W3CDTF">2022-03-24T11:42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CD90FCC66DA8F4C882C689D6817D41B00F691D77B5F96854C84E770AB437822F4</vt:lpwstr>
  </property>
  <property fmtid="{D5CDD505-2E9C-101B-9397-08002B2CF9AE}" pid="3" name="_dlc_DocIdItemGuid">
    <vt:lpwstr>378b0578-ac66-4221-8163-6167e347d118</vt:lpwstr>
  </property>
  <property fmtid="{D5CDD505-2E9C-101B-9397-08002B2CF9AE}" pid="4" name="NIRASScale">
    <vt:lpwstr/>
  </property>
  <property fmtid="{D5CDD505-2E9C-101B-9397-08002B2CF9AE}" pid="5" name="NIRASQAStatus">
    <vt:lpwstr/>
  </property>
  <property fmtid="{D5CDD505-2E9C-101B-9397-08002B2CF9AE}" pid="6" name="NIRASDocumentKind">
    <vt:lpwstr>15;#Presentation|6971b158-feba-49ed-a316-35dbbf67cee1</vt:lpwstr>
  </property>
  <property fmtid="{D5CDD505-2E9C-101B-9397-08002B2CF9AE}" pid="7" name="ApplyLanguageRun">
    <vt:lpwstr>true</vt:lpwstr>
  </property>
  <property fmtid="{D5CDD505-2E9C-101B-9397-08002B2CF9AE}" pid="8" name="NIRASQAGroup">
    <vt:lpwstr/>
  </property>
  <property fmtid="{D5CDD505-2E9C-101B-9397-08002B2CF9AE}" pid="9" name="Order">
    <vt:r8>40300</vt:r8>
  </property>
  <property fmtid="{D5CDD505-2E9C-101B-9397-08002B2CF9AE}" pid="10" name="xd_ProgID">
    <vt:lpwstr/>
  </property>
  <property fmtid="{D5CDD505-2E9C-101B-9397-08002B2CF9AE}" pid="11" name="_SourceUrl">
    <vt:lpwstr/>
  </property>
  <property fmtid="{D5CDD505-2E9C-101B-9397-08002B2CF9AE}" pid="12" name="_SharedFileIndex">
    <vt:lpwstr/>
  </property>
  <property fmtid="{D5CDD505-2E9C-101B-9397-08002B2CF9AE}" pid="13" name="ComplianceAssetId">
    <vt:lpwstr/>
  </property>
  <property fmtid="{D5CDD505-2E9C-101B-9397-08002B2CF9AE}" pid="14" name="TemplateUrl">
    <vt:lpwstr/>
  </property>
  <property fmtid="{D5CDD505-2E9C-101B-9397-08002B2CF9AE}" pid="15" name="_ExtendedDescription">
    <vt:lpwstr/>
  </property>
  <property fmtid="{D5CDD505-2E9C-101B-9397-08002B2CF9AE}" pid="16" name="TriggerFlowInfo">
    <vt:lpwstr/>
  </property>
  <property fmtid="{D5CDD505-2E9C-101B-9397-08002B2CF9AE}" pid="17" name="xd_Signature">
    <vt:bool>false</vt:bool>
  </property>
</Properties>
</file>